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3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4.xml" ContentType="application/vnd.openxmlformats-officedocument.them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5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42.jpg" ContentType="image/jpg"/>
  <Override PartName="/ppt/media/image43.jpg" ContentType="image/jpg"/>
  <Override PartName="/ppt/media/image51.jpg" ContentType="image/jpg"/>
  <Override PartName="/ppt/media/image59.jpg" ContentType="image/jpg"/>
  <Override PartName="/ppt/media/image60.jpg" ContentType="image/jpg"/>
  <Override PartName="/ppt/media/image67.jpg" ContentType="image/jpg"/>
  <Override PartName="/ppt/media/image71.jpg" ContentType="image/jpg"/>
  <Override PartName="/ppt/media/image73.jpg" ContentType="image/jpg"/>
  <Override PartName="/ppt/media/image78.jpg" ContentType="image/jpg"/>
  <Override PartName="/ppt/media/image85.jpg" ContentType="image/jpg"/>
  <Override PartName="/ppt/media/image102.jpg" ContentType="image/jpg"/>
  <Override PartName="/ppt/media/image109.jpg" ContentType="image/jpg"/>
  <Override PartName="/ppt/media/image111.jpg" ContentType="image/jpg"/>
  <Override PartName="/ppt/media/image112.jpg" ContentType="image/jpg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118.jpg" ContentType="image/jp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2" r:id="rId1"/>
    <p:sldMasterId id="2147483856" r:id="rId2"/>
    <p:sldMasterId id="2147483938" r:id="rId3"/>
    <p:sldMasterId id="2147484028" r:id="rId4"/>
    <p:sldMasterId id="2147484096" r:id="rId5"/>
  </p:sldMasterIdLst>
  <p:notesMasterIdLst>
    <p:notesMasterId r:id="rId48"/>
  </p:notesMasterIdLst>
  <p:sldIdLst>
    <p:sldId id="2145706952" r:id="rId6"/>
    <p:sldId id="2145706977" r:id="rId7"/>
    <p:sldId id="2145707024" r:id="rId8"/>
    <p:sldId id="2145707025" r:id="rId9"/>
    <p:sldId id="2145707026" r:id="rId10"/>
    <p:sldId id="2145707032" r:id="rId11"/>
    <p:sldId id="2145707033" r:id="rId12"/>
    <p:sldId id="2145707034" r:id="rId13"/>
    <p:sldId id="2145707035" r:id="rId14"/>
    <p:sldId id="2145707036" r:id="rId15"/>
    <p:sldId id="2145707037" r:id="rId16"/>
    <p:sldId id="2145707038" r:id="rId17"/>
    <p:sldId id="2145707039" r:id="rId18"/>
    <p:sldId id="2145707040" r:id="rId19"/>
    <p:sldId id="2145707041" r:id="rId20"/>
    <p:sldId id="2145707042" r:id="rId21"/>
    <p:sldId id="2145707043" r:id="rId22"/>
    <p:sldId id="2145707044" r:id="rId23"/>
    <p:sldId id="2145707045" r:id="rId24"/>
    <p:sldId id="2145707046" r:id="rId25"/>
    <p:sldId id="2145707047" r:id="rId26"/>
    <p:sldId id="2145707017" r:id="rId27"/>
    <p:sldId id="2145707016" r:id="rId28"/>
    <p:sldId id="2145707018" r:id="rId29"/>
    <p:sldId id="2145707019" r:id="rId30"/>
    <p:sldId id="2145707020" r:id="rId31"/>
    <p:sldId id="2145707021" r:id="rId32"/>
    <p:sldId id="2145707022" r:id="rId33"/>
    <p:sldId id="2145707011" r:id="rId34"/>
    <p:sldId id="2145707012" r:id="rId35"/>
    <p:sldId id="2145707005" r:id="rId36"/>
    <p:sldId id="2145707028" r:id="rId37"/>
    <p:sldId id="2145707023" r:id="rId38"/>
    <p:sldId id="2145706997" r:id="rId39"/>
    <p:sldId id="2145706999" r:id="rId40"/>
    <p:sldId id="2145707002" r:id="rId41"/>
    <p:sldId id="2145707004" r:id="rId42"/>
    <p:sldId id="2145707014" r:id="rId43"/>
    <p:sldId id="2145707029" r:id="rId44"/>
    <p:sldId id="2145707030" r:id="rId45"/>
    <p:sldId id="2145707031" r:id="rId46"/>
    <p:sldId id="2145706639" r:id="rId47"/>
  </p:sldIdLst>
  <p:sldSz cx="9144000" cy="6858000" type="screen4x3"/>
  <p:notesSz cx="6858000" cy="9926638"/>
  <p:defaultTextStyle>
    <a:defPPr>
      <a:defRPr lang="en-US"/>
    </a:defPPr>
    <a:lvl1pPr marL="0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9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8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8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7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6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95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46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95" algn="l" defTabSz="45714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pos="4157" userDrawn="1">
          <p15:clr>
            <a:srgbClr val="A4A3A4"/>
          </p15:clr>
        </p15:guide>
        <p15:guide id="3" pos="1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74"/>
    <a:srgbClr val="17A229"/>
    <a:srgbClr val="3E7EBD"/>
    <a:srgbClr val="50A55D"/>
    <a:srgbClr val="0272AC"/>
    <a:srgbClr val="AAD091"/>
    <a:srgbClr val="207F92"/>
    <a:srgbClr val="389B9C"/>
    <a:srgbClr val="E5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04" autoAdjust="0"/>
    <p:restoredTop sz="96433" autoAdjust="0"/>
  </p:normalViewPr>
  <p:slideViewPr>
    <p:cSldViewPr snapToGrid="0" snapToObjects="1">
      <p:cViewPr varScale="1">
        <p:scale>
          <a:sx n="115" d="100"/>
          <a:sy n="115" d="100"/>
        </p:scale>
        <p:origin x="1308" y="114"/>
      </p:cViewPr>
      <p:guideLst>
        <p:guide orient="horz" pos="1139"/>
        <p:guide pos="4157"/>
        <p:guide pos="10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398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2"/>
            <a:ext cx="2971800" cy="498055"/>
          </a:xfrm>
          <a:prstGeom prst="rect">
            <a:avLst/>
          </a:prstGeom>
        </p:spPr>
        <p:txBody>
          <a:bodyPr vert="horz" lIns="92060" tIns="46030" rIns="92060" bIns="4603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6" y="12"/>
            <a:ext cx="2971800" cy="498055"/>
          </a:xfrm>
          <a:prstGeom prst="rect">
            <a:avLst/>
          </a:prstGeom>
        </p:spPr>
        <p:txBody>
          <a:bodyPr vert="horz" lIns="92060" tIns="46030" rIns="92060" bIns="46030" rtlCol="0"/>
          <a:lstStyle>
            <a:lvl1pPr algn="r">
              <a:defRPr sz="1200"/>
            </a:lvl1pPr>
          </a:lstStyle>
          <a:p>
            <a:fld id="{B13AD79B-679F-D647-9937-FE2044E58972}" type="datetimeFigureOut">
              <a:rPr lang="ru-RU" smtClean="0"/>
              <a:t>12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96975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60" tIns="46030" rIns="92060" bIns="4603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77205"/>
            <a:ext cx="5486400" cy="3908614"/>
          </a:xfrm>
          <a:prstGeom prst="rect">
            <a:avLst/>
          </a:prstGeom>
        </p:spPr>
        <p:txBody>
          <a:bodyPr vert="horz" lIns="92060" tIns="46030" rIns="92060" bIns="4603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8"/>
            <a:ext cx="2971800" cy="498054"/>
          </a:xfrm>
          <a:prstGeom prst="rect">
            <a:avLst/>
          </a:prstGeom>
        </p:spPr>
        <p:txBody>
          <a:bodyPr vert="horz" lIns="92060" tIns="46030" rIns="92060" bIns="4603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6" y="9428588"/>
            <a:ext cx="2971800" cy="498054"/>
          </a:xfrm>
          <a:prstGeom prst="rect">
            <a:avLst/>
          </a:prstGeom>
        </p:spPr>
        <p:txBody>
          <a:bodyPr vert="horz" lIns="92060" tIns="46030" rIns="92060" bIns="46030" rtlCol="0" anchor="b"/>
          <a:lstStyle>
            <a:lvl1pPr algn="r">
              <a:defRPr sz="1200"/>
            </a:lvl1pPr>
          </a:lstStyle>
          <a:p>
            <a:fld id="{47408E28-60F5-4940-8B52-3894B16B69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980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9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8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8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7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6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95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46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95" algn="l" defTabSz="914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6975" y="1241425"/>
            <a:ext cx="4464050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7135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6975" y="1241425"/>
            <a:ext cx="4464050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8594CB-4B43-4AC5-AEFA-8E4D634FEB68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0342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6975" y="1241425"/>
            <a:ext cx="4464050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48D910-C084-4375-B87F-290395B47268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756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08E28-60F5-4940-8B52-3894B16B6907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5083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6975" y="1241425"/>
            <a:ext cx="4464050" cy="3348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185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7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9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7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7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4.xml"/><Relationship Id="rId7" Type="http://schemas.openxmlformats.org/officeDocument/2006/relationships/oleObject" Target="../embeddings/oleObject66.bin"/><Relationship Id="rId2" Type="http://schemas.openxmlformats.org/officeDocument/2006/relationships/tags" Target="../tags/tag133.xml"/><Relationship Id="rId1" Type="http://schemas.openxmlformats.org/officeDocument/2006/relationships/vmlDrawing" Target="../drawings/vmlDrawing6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6.xml"/><Relationship Id="rId4" Type="http://schemas.openxmlformats.org/officeDocument/2006/relationships/tags" Target="../tags/tag13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1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9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5.xml"/><Relationship Id="rId7" Type="http://schemas.openxmlformats.org/officeDocument/2006/relationships/oleObject" Target="../embeddings/oleObject70.bin"/><Relationship Id="rId2" Type="http://schemas.openxmlformats.org/officeDocument/2006/relationships/tags" Target="../tags/tag144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1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0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159.xml"/><Relationship Id="rId7" Type="http://schemas.openxmlformats.org/officeDocument/2006/relationships/image" Target="../media/image10.jpeg"/><Relationship Id="rId2" Type="http://schemas.openxmlformats.org/officeDocument/2006/relationships/tags" Target="../tags/tag158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png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161.xml"/><Relationship Id="rId7" Type="http://schemas.openxmlformats.org/officeDocument/2006/relationships/image" Target="../media/image10.jpeg"/><Relationship Id="rId2" Type="http://schemas.openxmlformats.org/officeDocument/2006/relationships/tags" Target="../tags/tag16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66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6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7" Type="http://schemas.openxmlformats.org/officeDocument/2006/relationships/image" Target="../media/image6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7" Type="http://schemas.openxmlformats.org/officeDocument/2006/relationships/image" Target="../media/image7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9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7.png"/><Relationship Id="rId2" Type="http://schemas.openxmlformats.org/officeDocument/2006/relationships/tags" Target="../tags/tag17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14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7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14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3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88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89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2.bin"/><Relationship Id="rId9" Type="http://schemas.openxmlformats.org/officeDocument/2006/relationships/image" Target="../media/image17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90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6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7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9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7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7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3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212.xml"/><Relationship Id="rId1" Type="http://schemas.openxmlformats.org/officeDocument/2006/relationships/vmlDrawing" Target="../drawings/vmlDrawing10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5.xml"/><Relationship Id="rId4" Type="http://schemas.openxmlformats.org/officeDocument/2006/relationships/tags" Target="../tags/tag21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105.v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18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06.vml"/><Relationship Id="rId6" Type="http://schemas.openxmlformats.org/officeDocument/2006/relationships/oleObject" Target="../embeddings/oleObject10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1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4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223.xml"/><Relationship Id="rId1" Type="http://schemas.openxmlformats.org/officeDocument/2006/relationships/vmlDrawing" Target="../drawings/vmlDrawing10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6.xml"/><Relationship Id="rId4" Type="http://schemas.openxmlformats.org/officeDocument/2006/relationships/tags" Target="../tags/tag22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109.vml"/><Relationship Id="rId6" Type="http://schemas.openxmlformats.org/officeDocument/2006/relationships/oleObject" Target="../embeddings/oleObject10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1.emf"/><Relationship Id="rId2" Type="http://schemas.openxmlformats.org/officeDocument/2006/relationships/tags" Target="../tags/tag230.xml"/><Relationship Id="rId1" Type="http://schemas.openxmlformats.org/officeDocument/2006/relationships/vmlDrawing" Target="../drawings/vmlDrawing110.vml"/><Relationship Id="rId6" Type="http://schemas.openxmlformats.org/officeDocument/2006/relationships/oleObject" Target="../embeddings/oleObject1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http://9F3003E25B23DB80664C183C444E2D54.dms.sberbank.ru/9F3003E25B23DB80664C183C444E2D54-45FDCC9C7560CF35DA88EEE9435DF9FE-DCE4E40318B1612E3940FE82ED48B2DA/1.png" TargetMode="External"/><Relationship Id="rId3" Type="http://schemas.openxmlformats.org/officeDocument/2006/relationships/tags" Target="../tags/tag236.xml"/><Relationship Id="rId7" Type="http://schemas.openxmlformats.org/officeDocument/2006/relationships/image" Target="http://9F3003E25B23DB80664C183C444E2D54.dms.sberbank.ru/9F3003E25B23DB80664C183C444E2D54-45FDCC9C7560CF35DA88EEE9435DF9FE-9B41346CF31F689632F0AD7F963FED2D/1.png" TargetMode="External"/><Relationship Id="rId2" Type="http://schemas.openxmlformats.org/officeDocument/2006/relationships/tags" Target="../tags/tag23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240.xml"/><Relationship Id="rId7" Type="http://schemas.openxmlformats.org/officeDocument/2006/relationships/image" Target="../media/image10.jpeg"/><Relationship Id="rId2" Type="http://schemas.openxmlformats.org/officeDocument/2006/relationships/tags" Target="../tags/tag239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png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242.xml"/><Relationship Id="rId7" Type="http://schemas.openxmlformats.org/officeDocument/2006/relationships/image" Target="../media/image10.jpeg"/><Relationship Id="rId2" Type="http://schemas.openxmlformats.org/officeDocument/2006/relationships/tags" Target="../tags/tag241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47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6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6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7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9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7" Type="http://schemas.openxmlformats.org/officeDocument/2006/relationships/image" Target="../media/image7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4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7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14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4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69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0.bin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70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1.bin"/><Relationship Id="rId9" Type="http://schemas.openxmlformats.org/officeDocument/2006/relationships/image" Target="../media/image17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71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7" Type="http://schemas.openxmlformats.org/officeDocument/2006/relationships/image" Target="../media/image6.png"/><Relationship Id="rId2" Type="http://schemas.openxmlformats.org/officeDocument/2006/relationships/tags" Target="../tags/tag277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6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6.png"/><Relationship Id="rId2" Type="http://schemas.openxmlformats.org/officeDocument/2006/relationships/tags" Target="../tags/tag281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7" Type="http://schemas.openxmlformats.org/officeDocument/2006/relationships/image" Target="../media/image7.png"/><Relationship Id="rId2" Type="http://schemas.openxmlformats.org/officeDocument/2006/relationships/tags" Target="../tags/tag283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7" Type="http://schemas.openxmlformats.org/officeDocument/2006/relationships/image" Target="../media/image9.png"/><Relationship Id="rId2" Type="http://schemas.openxmlformats.org/officeDocument/2006/relationships/tags" Target="../tags/tag285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7" Type="http://schemas.openxmlformats.org/officeDocument/2006/relationships/image" Target="../media/image7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7" Type="http://schemas.openxmlformats.org/officeDocument/2006/relationships/image" Target="../media/image7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4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293.xml"/><Relationship Id="rId1" Type="http://schemas.openxmlformats.org/officeDocument/2006/relationships/vmlDrawing" Target="../drawings/vmlDrawing14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96.xml"/><Relationship Id="rId4" Type="http://schemas.openxmlformats.org/officeDocument/2006/relationships/tags" Target="../tags/tag295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1.emf"/><Relationship Id="rId2" Type="http://schemas.openxmlformats.org/officeDocument/2006/relationships/tags" Target="../tags/tag297.xml"/><Relationship Id="rId1" Type="http://schemas.openxmlformats.org/officeDocument/2006/relationships/vmlDrawing" Target="../drawings/vmlDrawing144.vml"/><Relationship Id="rId6" Type="http://schemas.openxmlformats.org/officeDocument/2006/relationships/oleObject" Target="../embeddings/oleObject14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image" Target="../media/image1.emf"/><Relationship Id="rId2" Type="http://schemas.openxmlformats.org/officeDocument/2006/relationships/tags" Target="../tags/tag300.xml"/><Relationship Id="rId1" Type="http://schemas.openxmlformats.org/officeDocument/2006/relationships/vmlDrawing" Target="../drawings/vmlDrawing145.vml"/><Relationship Id="rId6" Type="http://schemas.openxmlformats.org/officeDocument/2006/relationships/oleObject" Target="../embeddings/oleObject14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0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5.xml"/><Relationship Id="rId7" Type="http://schemas.openxmlformats.org/officeDocument/2006/relationships/oleObject" Target="../embeddings/oleObject147.bin"/><Relationship Id="rId2" Type="http://schemas.openxmlformats.org/officeDocument/2006/relationships/tags" Target="../tags/tag304.xml"/><Relationship Id="rId1" Type="http://schemas.openxmlformats.org/officeDocument/2006/relationships/vmlDrawing" Target="../drawings/vmlDrawing147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07.xml"/><Relationship Id="rId4" Type="http://schemas.openxmlformats.org/officeDocument/2006/relationships/tags" Target="../tags/tag306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1.emf"/><Relationship Id="rId2" Type="http://schemas.openxmlformats.org/officeDocument/2006/relationships/tags" Target="../tags/tag308.xml"/><Relationship Id="rId1" Type="http://schemas.openxmlformats.org/officeDocument/2006/relationships/vmlDrawing" Target="../drawings/vmlDrawing148.vml"/><Relationship Id="rId6" Type="http://schemas.openxmlformats.org/officeDocument/2006/relationships/oleObject" Target="../embeddings/oleObject14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0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1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149.vml"/><Relationship Id="rId6" Type="http://schemas.openxmlformats.org/officeDocument/2006/relationships/oleObject" Target="../embeddings/oleObject14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3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9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5.xml"/><Relationship Id="rId7" Type="http://schemas.openxmlformats.org/officeDocument/2006/relationships/oleObject" Target="../embeddings/oleObject28.bin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6.xml"/><Relationship Id="rId7" Type="http://schemas.openxmlformats.org/officeDocument/2006/relationships/oleObject" Target="../embeddings/oleObject32.bin"/><Relationship Id="rId2" Type="http://schemas.openxmlformats.org/officeDocument/2006/relationships/tags" Target="../tags/tag65.xml"/><Relationship Id="rId1" Type="http://schemas.openxmlformats.org/officeDocument/2006/relationships/vmlDrawing" Target="../drawings/vmlDrawing3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80.xml"/><Relationship Id="rId7" Type="http://schemas.openxmlformats.org/officeDocument/2006/relationships/image" Target="../media/image10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82.xml"/><Relationship Id="rId7" Type="http://schemas.openxmlformats.org/officeDocument/2006/relationships/image" Target="../media/image10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8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6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6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9.png"/><Relationship Id="rId2" Type="http://schemas.openxmlformats.org/officeDocument/2006/relationships/tags" Target="../tags/tag9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7.png"/><Relationship Id="rId2" Type="http://schemas.openxmlformats.org/officeDocument/2006/relationships/tags" Target="../tags/tag9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4.png"/><Relationship Id="rId2" Type="http://schemas.openxmlformats.org/officeDocument/2006/relationships/tags" Target="../tags/tag9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14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Master" Target="../slideMasters/slideMaster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0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Relationship Id="rId9" Type="http://schemas.openxmlformats.org/officeDocument/2006/relationships/image" Target="../media/image17.jpe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1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6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7" Type="http://schemas.openxmlformats.org/officeDocument/2006/relationships/image" Target="../media/image6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7" Type="http://schemas.openxmlformats.org/officeDocument/2006/relationships/image" Target="../media/image6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r="40509"/>
          <a:stretch>
            <a:fillRect/>
          </a:stretch>
        </p:blipFill>
        <p:spPr>
          <a:xfrm>
            <a:off x="2448773" y="4"/>
            <a:ext cx="6695228" cy="6857989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4F1022C-A41F-4F64-A704-343E6666F2DE}"/>
              </a:ext>
            </a:extLst>
          </p:cNvPr>
          <p:cNvSpPr/>
          <p:nvPr userDrawn="1"/>
        </p:nvSpPr>
        <p:spPr>
          <a:xfrm>
            <a:off x="3021767" y="4"/>
            <a:ext cx="6122237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V="1">
            <a:off x="2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4295" tIns="74295" rIns="74295" bIns="74295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138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69"/>
            <a:ext cx="3859133" cy="304699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800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19" indent="0" algn="ctr">
              <a:buNone/>
              <a:defRPr/>
            </a:lvl4pPr>
            <a:lvl5pPr marL="457237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399830"/>
            <a:ext cx="3859132" cy="45792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200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DB21D02-2C95-4542-8955-4621DBF0B468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32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8" y="4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4DA6783A-A35E-4EE4-A8C3-20C8F44BF6F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42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458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7B11FDF-AD9A-4781-B08B-57331450DE68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561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50" y="4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9E2DE7C0-27C1-48EA-ABB7-E2FDE675C83C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13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8758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452715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5" y="4"/>
            <a:ext cx="331310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2" y="4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6F37C9B-D147-47C6-9E38-216427DC38D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7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9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DD86A1-0D80-4D5D-9955-947D5C604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1F7AB6C-2EF2-4675-8409-E82E4E4E57F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291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</p:spPr>
        <p:txBody>
          <a:bodyPr anchor="ctr" anchorCtr="0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FC05DC5-A4C4-485E-B433-598ED1A05BC5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8651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7E35D50-D996-444A-8FD0-7DBE027B6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AA12372-1F00-47BD-B0AA-56450E49C81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0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78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0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529BFBF-4CCD-4019-9400-309E0955433E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635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307A198-31B6-422E-9AF6-3248EC0C80A6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42" y="622803"/>
            <a:ext cx="3412754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2884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42" y="622803"/>
            <a:ext cx="3412754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E55D441-B5BF-4F1B-9AED-A3DD0853C4A5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745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6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123D111-C99F-4588-B064-E7EA6024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F8AFD0A-2ED6-416B-B146-DF3CB5D11846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4567615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706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5830895" y="4"/>
            <a:ext cx="331310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2" y="4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95233BF-DA77-48B1-A0AD-53E03B223B7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581543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03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4567615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924B6F9-3843-4D8F-8CEC-C3EA129CDA60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541359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540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949B896-7BB7-4006-9E33-B4BE615C5B1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993620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4C4DA86-0B4D-473B-A8D5-F01B0F7DF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6449A647-D273-44CF-870A-B6D25C81208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2805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21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8B6D946-06A2-4ABE-8C5E-8DA3851FB86E}" type="datetime1">
              <a:rPr lang="ru-RU" smtClean="0"/>
              <a:t>12.10.2021</a:t>
            </a:fld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11" y="1566648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1136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7DF69DF-02C2-47D0-8589-0964881C739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7982031" cy="27112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308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683321D-E166-424C-BA06-7AE375DECEA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2374965"/>
            <a:ext cx="2053661" cy="21080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5"/>
              </a:spcAft>
              <a:buFontTx/>
              <a:buNone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27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F4DE6F0-E4F2-48E7-84DD-BE33EBDD1CA8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04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1032731C-5E6C-40C7-B15F-FB31625E52FA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8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75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79"/>
                </a:spcAft>
              </a:pPr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53856"/>
              <a:ext cx="7283401" cy="40684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5CF0D00-85B7-4D89-BE6C-18DE378BBDB9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86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632120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5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5731" tIns="17621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5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581541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5243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308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838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D654D1C-C99D-423A-A91A-875BAA85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CD7148C-FE6C-4FF6-B723-3C8E18C51D5F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43" y="2680204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4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817479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558" tIns="268558" rIns="268558" bIns="13427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874"/>
              </a:lnSpc>
            </a:pPr>
            <a:endParaRPr lang="en-US" sz="430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817482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5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84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580295" y="1206001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580297" y="622805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741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5909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2741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1510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632119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75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5731" tIns="17621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75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581539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5243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308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0499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817477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558" tIns="268558" rIns="268558" bIns="13427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874"/>
              </a:lnSpc>
            </a:pPr>
            <a:endParaRPr lang="en-US" sz="4308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817478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75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215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580295" y="1205999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580297" y="622801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350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74426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235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2642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2374965"/>
            <a:ext cx="2053661" cy="21080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5"/>
              </a:spcAft>
              <a:buFontTx/>
              <a:buNone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489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. Title Only">
  <p:cSld name="1_D. 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76"/>
          <p:cNvSpPr txBox="1">
            <a:spLocks noGrp="1"/>
          </p:cNvSpPr>
          <p:nvPr>
            <p:ph type="dt" idx="10"/>
          </p:nvPr>
        </p:nvSpPr>
        <p:spPr>
          <a:xfrm>
            <a:off x="7304128" y="6271206"/>
            <a:ext cx="953723" cy="287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CA747296-B54B-407A-AB9E-69E18F6DC965}" type="datetime1">
              <a:rPr lang="ru-RU" smtClean="0"/>
              <a:t>12.10.2021</a:t>
            </a:fld>
            <a:endParaRPr/>
          </a:p>
        </p:txBody>
      </p:sp>
      <p:sp>
        <p:nvSpPr>
          <p:cNvPr id="26" name="Google Shape;26;p176"/>
          <p:cNvSpPr txBox="1">
            <a:spLocks noGrp="1"/>
          </p:cNvSpPr>
          <p:nvPr>
            <p:ph type="title"/>
          </p:nvPr>
        </p:nvSpPr>
        <p:spPr>
          <a:xfrm>
            <a:off x="581543" y="622803"/>
            <a:ext cx="7982031" cy="271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140"/>
              </a:buClr>
              <a:buSzPts val="2000"/>
              <a:buFont typeface="Trebuchet MS"/>
              <a:buNone/>
              <a:defRPr>
                <a:solidFill>
                  <a:srgbClr val="3741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92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/>
          <a:p>
            <a:fld id="{8B7E2A40-3961-468B-B323-DD18D4C1CEB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5690C-A273-47D1-BD6D-5226EDB75352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001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43" y="2680203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FC61E19-9AF2-4AB9-831B-AB412B88D75D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53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30" y="6405037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5CFAF01-2D97-4150-B08E-DB7C482D8D96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8E2314CC-194C-48C8-8F07-96077B116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544" y="622814"/>
            <a:ext cx="4567615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30092473"/>
      </p:ext>
    </p:extLst>
  </p:cSld>
  <p:clrMapOvr>
    <a:masterClrMapping/>
  </p:clrMapOvr>
  <p:transition spd="slow">
    <p:push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30" y="6405037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8DD625F-9091-4A44-B5A7-D9A2DA0D46FE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256164"/>
      </p:ext>
    </p:extLst>
  </p:cSld>
  <p:clrMapOvr>
    <a:masterClrMapping/>
  </p:clrMapOvr>
  <p:transition spd="slow">
    <p:push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1">
            <a:extLst>
              <a:ext uri="{FF2B5EF4-FFF2-40B4-BE49-F238E27FC236}">
                <a16:creationId xmlns:a16="http://schemas.microsoft.com/office/drawing/2014/main" xmlns="" id="{831A9E99-3E25-ED4E-B528-931146C7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8128" y="6449173"/>
            <a:ext cx="367164" cy="412751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fld id="{C9C1D51D-2F8C-E94D-9244-2D23C69FA09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xmlns="" id="{8308627F-80AA-074A-91C1-3732CCC5EE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4496" y="6431242"/>
            <a:ext cx="5616441" cy="225891"/>
          </a:xfrm>
          <a:prstGeom prst="rect">
            <a:avLst/>
          </a:prstGeom>
        </p:spPr>
        <p:txBody>
          <a:bodyPr vert="horz" lIns="131116" tIns="65558" rIns="131116" bIns="65558" rtlCol="0" anchor="t">
            <a:noAutofit/>
          </a:bodyPr>
          <a:lstStyle>
            <a:lvl1pPr marL="0" indent="0" algn="l" defTabSz="794704" rtl="0" eaLnBrk="1" latinLnBrk="0" hangingPunct="1">
              <a:buClr>
                <a:srgbClr val="606670"/>
              </a:buClr>
              <a:buSzPts val="800"/>
              <a:buFont typeface="Arial" panose="020B0604020202020204" pitchFamily="34" charset="0"/>
              <a:buNone/>
              <a:defRPr lang="en-US" sz="770" kern="1200" dirty="0">
                <a:solidFill>
                  <a:srgbClr val="606670"/>
                </a:solidFill>
                <a:latin typeface="Graphik LCG" panose="020B0503030202060203" pitchFamily="34" charset="0"/>
                <a:ea typeface="Montserrat Light"/>
                <a:cs typeface="Montserrat Light"/>
              </a:defRPr>
            </a:lvl1pPr>
            <a:lvl2pPr marL="198676" indent="0">
              <a:buNone/>
              <a:defRPr lang="en-US" sz="1539" smtClean="0"/>
            </a:lvl2pPr>
            <a:lvl3pPr>
              <a:defRPr lang="en-US" sz="1539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>
              <a:buClr>
                <a:srgbClr val="606670"/>
              </a:buClr>
              <a:buSzPts val="800"/>
            </a:pPr>
            <a:r>
              <a:rPr lang="ru-RU" sz="770" dirty="0">
                <a:solidFill>
                  <a:srgbClr val="606670"/>
                </a:solidFill>
                <a:latin typeface="Graphik LCG" panose="020B0503030202060203" pitchFamily="34" charset="0"/>
                <a:ea typeface="Montserrat Light"/>
                <a:cs typeface="Montserrat Light"/>
                <a:sym typeface="Montserrat Light"/>
              </a:rPr>
              <a:t>Название раздела</a:t>
            </a:r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xmlns="" id="{0FB9078A-A985-064E-8D63-55646FBF5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151" y="581302"/>
            <a:ext cx="8548800" cy="302032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2181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099995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  <p15:guide id="5" orient="horz" pos="1253" userDrawn="1">
          <p15:clr>
            <a:srgbClr val="FBAE40"/>
          </p15:clr>
        </p15:guide>
        <p15:guide id="6" orient="horz" pos="1706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067" userDrawn="1">
          <p15:clr>
            <a:srgbClr val="FBAE40"/>
          </p15:clr>
        </p15:guide>
        <p15:guide id="10" orient="horz" pos="3521" userDrawn="1">
          <p15:clr>
            <a:srgbClr val="FBAE40"/>
          </p15:clr>
        </p15:guide>
        <p15:guide id="11" orient="horz" pos="3974" userDrawn="1">
          <p15:clr>
            <a:srgbClr val="FBAE40"/>
          </p15:clr>
        </p15:guide>
        <p15:guide id="12" pos="5273" userDrawn="1">
          <p15:clr>
            <a:srgbClr val="FBAE40"/>
          </p15:clr>
        </p15:guide>
        <p15:guide id="13" pos="822" userDrawn="1">
          <p15:clr>
            <a:srgbClr val="FBAE40"/>
          </p15:clr>
        </p15:guide>
        <p15:guide id="14" pos="899" userDrawn="1">
          <p15:clr>
            <a:srgbClr val="FBAE40"/>
          </p15:clr>
        </p15:guide>
        <p15:guide id="15" pos="1226" userDrawn="1">
          <p15:clr>
            <a:srgbClr val="FBAE40"/>
          </p15:clr>
        </p15:guide>
        <p15:guide id="16" pos="1299" userDrawn="1">
          <p15:clr>
            <a:srgbClr val="FBAE40"/>
          </p15:clr>
        </p15:guide>
        <p15:guide id="17" pos="1636" userDrawn="1">
          <p15:clr>
            <a:srgbClr val="FBAE40"/>
          </p15:clr>
        </p15:guide>
        <p15:guide id="18" pos="1707" userDrawn="1">
          <p15:clr>
            <a:srgbClr val="FBAE40"/>
          </p15:clr>
        </p15:guide>
        <p15:guide id="19" pos="2036" userDrawn="1">
          <p15:clr>
            <a:srgbClr val="FBAE40"/>
          </p15:clr>
        </p15:guide>
        <p15:guide id="20" pos="2107" userDrawn="1">
          <p15:clr>
            <a:srgbClr val="FBAE40"/>
          </p15:clr>
        </p15:guide>
        <p15:guide id="21" pos="2439" userDrawn="1">
          <p15:clr>
            <a:srgbClr val="FBAE40"/>
          </p15:clr>
        </p15:guide>
        <p15:guide id="22" pos="2513" userDrawn="1">
          <p15:clr>
            <a:srgbClr val="FBAE40"/>
          </p15:clr>
        </p15:guide>
        <p15:guide id="24" pos="2915" userDrawn="1">
          <p15:clr>
            <a:srgbClr val="FBAE40"/>
          </p15:clr>
        </p15:guide>
        <p15:guide id="25" pos="3245" userDrawn="1">
          <p15:clr>
            <a:srgbClr val="FBAE40"/>
          </p15:clr>
        </p15:guide>
        <p15:guide id="26" pos="3320" userDrawn="1">
          <p15:clr>
            <a:srgbClr val="FBAE40"/>
          </p15:clr>
        </p15:guide>
        <p15:guide id="27" pos="3646" userDrawn="1">
          <p15:clr>
            <a:srgbClr val="FBAE40"/>
          </p15:clr>
        </p15:guide>
        <p15:guide id="28" pos="3721" userDrawn="1">
          <p15:clr>
            <a:srgbClr val="FBAE40"/>
          </p15:clr>
        </p15:guide>
        <p15:guide id="29" pos="4055" userDrawn="1">
          <p15:clr>
            <a:srgbClr val="FBAE40"/>
          </p15:clr>
        </p15:guide>
        <p15:guide id="30" pos="4126" userDrawn="1">
          <p15:clr>
            <a:srgbClr val="FBAE40"/>
          </p15:clr>
        </p15:guide>
        <p15:guide id="31" pos="4458" userDrawn="1">
          <p15:clr>
            <a:srgbClr val="FBAE40"/>
          </p15:clr>
        </p15:guide>
        <p15:guide id="32" pos="4532" userDrawn="1">
          <p15:clr>
            <a:srgbClr val="FBAE40"/>
          </p15:clr>
        </p15:guide>
        <p15:guide id="33" pos="4858" userDrawn="1">
          <p15:clr>
            <a:srgbClr val="FBAE40"/>
          </p15:clr>
        </p15:guide>
        <p15:guide id="34" pos="4928" userDrawn="1">
          <p15:clr>
            <a:srgbClr val="FBAE40"/>
          </p15:clr>
        </p15:guide>
        <p15:guide id="35" pos="2839" userDrawn="1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1">
            <a:extLst>
              <a:ext uri="{FF2B5EF4-FFF2-40B4-BE49-F238E27FC236}">
                <a16:creationId xmlns:a16="http://schemas.microsoft.com/office/drawing/2014/main" xmlns="" id="{831A9E99-3E25-ED4E-B528-931146C7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4198" y="6449173"/>
            <a:ext cx="367164" cy="412751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fld id="{C9C1D51D-2F8C-E94D-9244-2D23C69FA0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190F1AE1-F5D4-EA4C-B78E-EECAD531B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6285" y="479702"/>
            <a:ext cx="6985396" cy="516872"/>
          </a:xfrm>
          <a:prstGeom prst="rect">
            <a:avLst/>
          </a:prstGeom>
        </p:spPr>
        <p:txBody>
          <a:bodyPr vert="horz" lIns="131116" tIns="51620" rIns="131116" bIns="65558" rtlCol="0" anchor="t">
            <a:noAutofit/>
          </a:bodyPr>
          <a:lstStyle>
            <a:lvl1pPr marL="0" algn="l" defTabSz="7947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dirty="0"/>
              <a:t>Название слайда</a:t>
            </a:r>
          </a:p>
        </p:txBody>
      </p:sp>
    </p:spTree>
    <p:extLst>
      <p:ext uri="{BB962C8B-B14F-4D97-AF65-F5344CB8AC3E}">
        <p14:creationId xmlns:p14="http://schemas.microsoft.com/office/powerpoint/2010/main" val="26921305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  <p15:guide id="5" orient="horz" pos="1253" userDrawn="1">
          <p15:clr>
            <a:srgbClr val="FBAE40"/>
          </p15:clr>
        </p15:guide>
        <p15:guide id="6" orient="horz" pos="1706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067" userDrawn="1">
          <p15:clr>
            <a:srgbClr val="FBAE40"/>
          </p15:clr>
        </p15:guide>
        <p15:guide id="10" orient="horz" pos="3521" userDrawn="1">
          <p15:clr>
            <a:srgbClr val="FBAE40"/>
          </p15:clr>
        </p15:guide>
        <p15:guide id="11" orient="horz" pos="3974" userDrawn="1">
          <p15:clr>
            <a:srgbClr val="FBAE40"/>
          </p15:clr>
        </p15:guide>
        <p15:guide id="12" pos="5261" userDrawn="1">
          <p15:clr>
            <a:srgbClr val="FBAE40"/>
          </p15:clr>
        </p15:guide>
        <p15:guide id="13" pos="822" userDrawn="1">
          <p15:clr>
            <a:srgbClr val="FBAE40"/>
          </p15:clr>
        </p15:guide>
        <p15:guide id="14" pos="899" userDrawn="1">
          <p15:clr>
            <a:srgbClr val="FBAE40"/>
          </p15:clr>
        </p15:guide>
        <p15:guide id="15" pos="1226" userDrawn="1">
          <p15:clr>
            <a:srgbClr val="FBAE40"/>
          </p15:clr>
        </p15:guide>
        <p15:guide id="16" pos="1299" userDrawn="1">
          <p15:clr>
            <a:srgbClr val="FBAE40"/>
          </p15:clr>
        </p15:guide>
        <p15:guide id="17" pos="1636" userDrawn="1">
          <p15:clr>
            <a:srgbClr val="FBAE40"/>
          </p15:clr>
        </p15:guide>
        <p15:guide id="18" pos="1707" userDrawn="1">
          <p15:clr>
            <a:srgbClr val="FBAE40"/>
          </p15:clr>
        </p15:guide>
        <p15:guide id="19" pos="2036" userDrawn="1">
          <p15:clr>
            <a:srgbClr val="FBAE40"/>
          </p15:clr>
        </p15:guide>
        <p15:guide id="20" pos="2107" userDrawn="1">
          <p15:clr>
            <a:srgbClr val="FBAE40"/>
          </p15:clr>
        </p15:guide>
        <p15:guide id="21" pos="2439" userDrawn="1">
          <p15:clr>
            <a:srgbClr val="FBAE40"/>
          </p15:clr>
        </p15:guide>
        <p15:guide id="22" pos="2506" userDrawn="1">
          <p15:clr>
            <a:srgbClr val="FBAE40"/>
          </p15:clr>
        </p15:guide>
        <p15:guide id="24" pos="2915" userDrawn="1">
          <p15:clr>
            <a:srgbClr val="FBAE40"/>
          </p15:clr>
        </p15:guide>
        <p15:guide id="25" pos="3245" userDrawn="1">
          <p15:clr>
            <a:srgbClr val="FBAE40"/>
          </p15:clr>
        </p15:guide>
        <p15:guide id="26" pos="3320" userDrawn="1">
          <p15:clr>
            <a:srgbClr val="FBAE40"/>
          </p15:clr>
        </p15:guide>
        <p15:guide id="27" pos="3646" userDrawn="1">
          <p15:clr>
            <a:srgbClr val="FBAE40"/>
          </p15:clr>
        </p15:guide>
        <p15:guide id="28" pos="3721" userDrawn="1">
          <p15:clr>
            <a:srgbClr val="FBAE40"/>
          </p15:clr>
        </p15:guide>
        <p15:guide id="29" pos="4055" userDrawn="1">
          <p15:clr>
            <a:srgbClr val="FBAE40"/>
          </p15:clr>
        </p15:guide>
        <p15:guide id="30" pos="4126" userDrawn="1">
          <p15:clr>
            <a:srgbClr val="FBAE40"/>
          </p15:clr>
        </p15:guide>
        <p15:guide id="31" pos="4458" userDrawn="1">
          <p15:clr>
            <a:srgbClr val="FBAE40"/>
          </p15:clr>
        </p15:guide>
        <p15:guide id="32" pos="4532" userDrawn="1">
          <p15:clr>
            <a:srgbClr val="FBAE40"/>
          </p15:clr>
        </p15:guide>
        <p15:guide id="33" pos="4858" userDrawn="1">
          <p15:clr>
            <a:srgbClr val="FBAE40"/>
          </p15:clr>
        </p15:guide>
        <p15:guide id="34" pos="4928" userDrawn="1">
          <p15:clr>
            <a:srgbClr val="FBAE40"/>
          </p15:clr>
        </p15:guide>
        <p15:guide id="35" pos="2839" userDrawn="1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1">
            <a:extLst>
              <a:ext uri="{FF2B5EF4-FFF2-40B4-BE49-F238E27FC236}">
                <a16:creationId xmlns:a16="http://schemas.microsoft.com/office/drawing/2014/main" xmlns="" id="{831A9E99-3E25-ED4E-B528-931146C7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4198" y="6449173"/>
            <a:ext cx="367164" cy="412751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fld id="{C9C1D51D-2F8C-E94D-9244-2D23C69FA0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190F1AE1-F5D4-EA4C-B78E-EECAD531B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6114" y="512843"/>
            <a:ext cx="6985396" cy="516872"/>
          </a:xfrm>
          <a:prstGeom prst="rect">
            <a:avLst/>
          </a:prstGeom>
        </p:spPr>
        <p:txBody>
          <a:bodyPr vert="horz" lIns="131116" tIns="51620" rIns="131116" bIns="65558" rtlCol="0" anchor="t">
            <a:noAutofit/>
          </a:bodyPr>
          <a:lstStyle>
            <a:lvl1pPr marL="0" algn="l" defTabSz="7947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dirty="0"/>
              <a:t>Название слайда</a:t>
            </a:r>
          </a:p>
        </p:txBody>
      </p:sp>
    </p:spTree>
    <p:extLst>
      <p:ext uri="{BB962C8B-B14F-4D97-AF65-F5344CB8AC3E}">
        <p14:creationId xmlns:p14="http://schemas.microsoft.com/office/powerpoint/2010/main" val="306464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  <p15:guide id="5" orient="horz" pos="1253" userDrawn="1">
          <p15:clr>
            <a:srgbClr val="FBAE40"/>
          </p15:clr>
        </p15:guide>
        <p15:guide id="6" orient="horz" pos="1706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067" userDrawn="1">
          <p15:clr>
            <a:srgbClr val="FBAE40"/>
          </p15:clr>
        </p15:guide>
        <p15:guide id="10" orient="horz" pos="3521" userDrawn="1">
          <p15:clr>
            <a:srgbClr val="FBAE40"/>
          </p15:clr>
        </p15:guide>
        <p15:guide id="11" orient="horz" pos="3974" userDrawn="1">
          <p15:clr>
            <a:srgbClr val="FBAE40"/>
          </p15:clr>
        </p15:guide>
        <p15:guide id="12" pos="5261" userDrawn="1">
          <p15:clr>
            <a:srgbClr val="FBAE40"/>
          </p15:clr>
        </p15:guide>
        <p15:guide id="13" pos="822" userDrawn="1">
          <p15:clr>
            <a:srgbClr val="FBAE40"/>
          </p15:clr>
        </p15:guide>
        <p15:guide id="14" pos="899" userDrawn="1">
          <p15:clr>
            <a:srgbClr val="FBAE40"/>
          </p15:clr>
        </p15:guide>
        <p15:guide id="15" pos="1226" userDrawn="1">
          <p15:clr>
            <a:srgbClr val="FBAE40"/>
          </p15:clr>
        </p15:guide>
        <p15:guide id="16" pos="1299" userDrawn="1">
          <p15:clr>
            <a:srgbClr val="FBAE40"/>
          </p15:clr>
        </p15:guide>
        <p15:guide id="17" pos="1636" userDrawn="1">
          <p15:clr>
            <a:srgbClr val="FBAE40"/>
          </p15:clr>
        </p15:guide>
        <p15:guide id="18" pos="1707" userDrawn="1">
          <p15:clr>
            <a:srgbClr val="FBAE40"/>
          </p15:clr>
        </p15:guide>
        <p15:guide id="19" pos="2036" userDrawn="1">
          <p15:clr>
            <a:srgbClr val="FBAE40"/>
          </p15:clr>
        </p15:guide>
        <p15:guide id="20" pos="2107" userDrawn="1">
          <p15:clr>
            <a:srgbClr val="FBAE40"/>
          </p15:clr>
        </p15:guide>
        <p15:guide id="21" pos="2439" userDrawn="1">
          <p15:clr>
            <a:srgbClr val="FBAE40"/>
          </p15:clr>
        </p15:guide>
        <p15:guide id="22" pos="2506" userDrawn="1">
          <p15:clr>
            <a:srgbClr val="FBAE40"/>
          </p15:clr>
        </p15:guide>
        <p15:guide id="24" pos="2915" userDrawn="1">
          <p15:clr>
            <a:srgbClr val="FBAE40"/>
          </p15:clr>
        </p15:guide>
        <p15:guide id="25" pos="3245" userDrawn="1">
          <p15:clr>
            <a:srgbClr val="FBAE40"/>
          </p15:clr>
        </p15:guide>
        <p15:guide id="26" pos="3320" userDrawn="1">
          <p15:clr>
            <a:srgbClr val="FBAE40"/>
          </p15:clr>
        </p15:guide>
        <p15:guide id="27" pos="3646" userDrawn="1">
          <p15:clr>
            <a:srgbClr val="FBAE40"/>
          </p15:clr>
        </p15:guide>
        <p15:guide id="28" pos="3721" userDrawn="1">
          <p15:clr>
            <a:srgbClr val="FBAE40"/>
          </p15:clr>
        </p15:guide>
        <p15:guide id="29" pos="4055" userDrawn="1">
          <p15:clr>
            <a:srgbClr val="FBAE40"/>
          </p15:clr>
        </p15:guide>
        <p15:guide id="30" pos="4126" userDrawn="1">
          <p15:clr>
            <a:srgbClr val="FBAE40"/>
          </p15:clr>
        </p15:guide>
        <p15:guide id="31" pos="4458" userDrawn="1">
          <p15:clr>
            <a:srgbClr val="FBAE40"/>
          </p15:clr>
        </p15:guide>
        <p15:guide id="32" pos="4532" userDrawn="1">
          <p15:clr>
            <a:srgbClr val="FBAE40"/>
          </p15:clr>
        </p15:guide>
        <p15:guide id="33" pos="4858" userDrawn="1">
          <p15:clr>
            <a:srgbClr val="FBAE40"/>
          </p15:clr>
        </p15:guide>
        <p15:guide id="34" pos="4928" userDrawn="1">
          <p15:clr>
            <a:srgbClr val="FBAE40"/>
          </p15:clr>
        </p15:guide>
        <p15:guide id="35" pos="2839" userDrawn="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6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13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B8F3CEA-B622-4CEE-B1CE-3916DECC9EF7}"/>
              </a:ext>
            </a:extLst>
          </p:cNvPr>
          <p:cNvSpPr/>
          <p:nvPr userDrawn="1"/>
        </p:nvSpPr>
        <p:spPr>
          <a:xfrm>
            <a:off x="1" y="4"/>
            <a:ext cx="9144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2C6C4F34-2E5C-4F88-82D1-D5EBA8C9EC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63"/>
          <a:stretch>
            <a:fillRect/>
          </a:stretch>
        </p:blipFill>
        <p:spPr>
          <a:xfrm>
            <a:off x="2948432" y="4"/>
            <a:ext cx="6195573" cy="6857989"/>
          </a:xfrm>
          <a:custGeom>
            <a:avLst/>
            <a:gdLst>
              <a:gd name="connsiteX0" fmla="*/ 2097992 w 10244207"/>
              <a:gd name="connsiteY0" fmla="*/ 0 h 10691796"/>
              <a:gd name="connsiteX1" fmla="*/ 10244207 w 10244207"/>
              <a:gd name="connsiteY1" fmla="*/ 0 h 10691796"/>
              <a:gd name="connsiteX2" fmla="*/ 10244207 w 10244207"/>
              <a:gd name="connsiteY2" fmla="*/ 10691796 h 10691796"/>
              <a:gd name="connsiteX3" fmla="*/ 1827803 w 10244207"/>
              <a:gd name="connsiteY3" fmla="*/ 10691796 h 10691796"/>
              <a:gd name="connsiteX4" fmla="*/ 1644651 w 10244207"/>
              <a:gd name="connsiteY4" fmla="*/ 10458733 h 10691796"/>
              <a:gd name="connsiteX5" fmla="*/ 0 w 10244207"/>
              <a:gd name="connsiteY5" fmla="*/ 5505553 h 10691796"/>
              <a:gd name="connsiteX6" fmla="*/ 1890414 w 10244207"/>
              <a:gd name="connsiteY6" fmla="*/ 239636 h 1069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6">
                <a:moveTo>
                  <a:pt x="2097992" y="0"/>
                </a:moveTo>
                <a:lnTo>
                  <a:pt x="10244207" y="0"/>
                </a:lnTo>
                <a:lnTo>
                  <a:pt x="10244207" y="10691796"/>
                </a:lnTo>
                <a:lnTo>
                  <a:pt x="1827803" y="10691796"/>
                </a:lnTo>
                <a:lnTo>
                  <a:pt x="1644651" y="10458733"/>
                </a:lnTo>
                <a:cubicBezTo>
                  <a:pt x="611705" y="9077520"/>
                  <a:pt x="0" y="7362973"/>
                  <a:pt x="0" y="5505553"/>
                </a:cubicBezTo>
                <a:cubicBezTo>
                  <a:pt x="0" y="3505256"/>
                  <a:pt x="709433" y="1670655"/>
                  <a:pt x="1890414" y="239636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A4B8A7A7-BAE6-4F9E-A1F1-D3826D22B7E2}"/>
              </a:ext>
            </a:extLst>
          </p:cNvPr>
          <p:cNvSpPr/>
          <p:nvPr userDrawn="1"/>
        </p:nvSpPr>
        <p:spPr>
          <a:xfrm>
            <a:off x="1" y="4"/>
            <a:ext cx="514942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72"/>
            <a:ext cx="3859133" cy="298275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810" indent="0" algn="ctr">
              <a:buNone/>
              <a:defRPr/>
            </a:lvl4pPr>
            <a:lvl5pPr marL="44762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409287"/>
            <a:ext cx="3859132" cy="44847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134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193812" name="Picture 276" descr="Заказ выписок ЕГРН из Росреестра.">
            <a:extLst>
              <a:ext uri="{FF2B5EF4-FFF2-40B4-BE49-F238E27FC236}">
                <a16:creationId xmlns:a16="http://schemas.microsoft.com/office/drawing/2014/main" xmlns="" id="{48EA4FD4-1A07-40DB-A91B-E8E0786871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84" y="621645"/>
            <a:ext cx="586501" cy="94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30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8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13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48773" y="4"/>
            <a:ext cx="6695228" cy="6857989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4F1022C-A41F-4F64-A704-343E6666F2DE}"/>
              </a:ext>
            </a:extLst>
          </p:cNvPr>
          <p:cNvSpPr/>
          <p:nvPr userDrawn="1"/>
        </p:nvSpPr>
        <p:spPr>
          <a:xfrm>
            <a:off x="3021762" y="4"/>
            <a:ext cx="6122238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519" tIns="44760" rIns="89519" bIns="447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75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V="1">
            <a:off x="2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734" tIns="72734" rIns="72734" bIns="72734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115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72"/>
            <a:ext cx="3859133" cy="298275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810" indent="0" algn="ctr">
              <a:buNone/>
              <a:defRPr/>
            </a:lvl4pPr>
            <a:lvl5pPr marL="44762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409287"/>
            <a:ext cx="3859132" cy="44847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134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155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BD2686C-F4F7-4B49-9FA7-547747A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BBD000BF-A50E-432E-A121-4620F7FFEA5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25428"/>
          </a:xfr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7736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7648504-9EE9-4917-8732-47ADDE1CE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25428"/>
          </a:xfr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9"/>
            <a:ext cx="7982584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027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6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D607360-2403-48CB-B422-C21281360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41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6" y="7"/>
            <a:ext cx="355261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519" tIns="44760" rIns="89519" bIns="44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B6A9B5D7-C7B1-461D-BD6D-D8A5B4C24B3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41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76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7E1E3A5-2541-4EE2-B1CD-3FA262A75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2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5657B46-052E-4C9C-90A7-04EBE7370AD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33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5CA6198-C55D-49A9-870A-F9B568593A79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8" y="2668045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9" y="1457807"/>
            <a:ext cx="8466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89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59EE14C-CCD9-4F6D-8A87-89427D5CDF8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430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42" y="3680016"/>
            <a:ext cx="8562461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7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30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1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0EC41E4-635B-4C07-A3CD-A0C433A3DE0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2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768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1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89F0D-C9AE-4DB8-AC61-09A2F9CD6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6" y="4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AEE1FD9-22F1-4EBD-A576-DEBD2A4F38A8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25428"/>
          </a:xfrm>
          <a:prstGeom prst="rect">
            <a:avLst/>
          </a:prstGeo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994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7538151-A6B2-48E2-86C7-DE861002871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31842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50" y="4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21D45CD-76A8-42C1-8B90-0EAA35058C1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42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13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4940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3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D654D1C-C99D-423A-A91A-875BAA85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41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58895F9-986B-432E-8DF8-6FFE0051C3D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43" y="2680204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835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43" y="2680203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82D1C69-1447-4207-A783-DE6AFF2BAC67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66430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7E1E3A5-2541-4EE2-B1CD-3FA262A75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68FA677-B90F-4FB5-9728-2CEA8B415A74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DDA8DCC-3811-4B5C-A65B-6F011D48407F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1570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2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F07F6F2-DFC7-43D8-89AC-F2EA268BDF57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4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2FA6E58-42C2-4A8B-A308-104370CC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FBD27F1-E4D0-4318-8125-79461E26E93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11"/>
            <a:ext cx="3412754" cy="3254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5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0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37AE0A9-967E-4DE8-9322-59BBA197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11"/>
            <a:ext cx="3412754" cy="3254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35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940316C-42EC-4EB1-89C4-44067C6527BA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365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2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78B4846-5D34-40B4-A5DC-B6A52EE4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48D00A6A-A9F5-4E95-87BC-8F4FE807314C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25428"/>
          </a:xfr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931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BA8F6F6A-A66E-4A7D-B36D-992137A4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25428"/>
          </a:xfrm>
        </p:spPr>
        <p:txBody>
          <a:bodyPr/>
          <a:lstStyle>
            <a:lvl1pPr>
              <a:defRPr sz="235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321A86E-DA52-440E-A285-F5CA89770FF8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541359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3037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608D117-F206-4AA9-BD9C-D753C1858B6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4377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7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F3D2C4E-5C0D-41F0-B61A-EC084746F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3366D1B-1F12-4963-A8AC-0E7E2273B5CF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5479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662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11" y="1566648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1518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0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869E05E-F5C3-4EFB-97F7-778343B7F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C275442-8D33-460E-AA35-5C8F70EB47D4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25428"/>
          </a:xfrm>
        </p:spPr>
        <p:txBody>
          <a:bodyPr/>
          <a:lstStyle>
            <a:lvl1pPr>
              <a:defRPr sz="23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285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15AF0F9-557D-41A9-A442-A812D6C41F6F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61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503012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9A354199-7915-42EC-879B-5D7E742057E7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74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2FA6E58-42C2-4A8B-A308-104370CC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52D8C56-4063-4155-993C-10F54816D8AC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11"/>
            <a:ext cx="3412754" cy="3324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7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2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" y="5"/>
            <a:ext cx="6944351" cy="6857999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H="1">
            <a:off x="3768134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734" tIns="72734" rIns="72734" bIns="72734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115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7" name="Рисунок 90">
            <a:extLst>
              <a:ext uri="{FF2B5EF4-FFF2-40B4-BE49-F238E27FC236}">
                <a16:creationId xmlns:a16="http://schemas.microsoft.com/office/drawing/2014/main" xmlns="" id="{4078F789-193A-452C-A23D-73B351F62D6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/>
          <a:stretch>
            <a:fillRect/>
          </a:stretch>
        </p:blipFill>
        <p:spPr>
          <a:xfrm>
            <a:off x="5614574" y="2483172"/>
            <a:ext cx="2972159" cy="1281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588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4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82F3149-8CEE-4A6B-AF61-491C73DD7289}"/>
              </a:ext>
            </a:extLst>
          </p:cNvPr>
          <p:cNvSpPr/>
          <p:nvPr userDrawn="1"/>
        </p:nvSpPr>
        <p:spPr>
          <a:xfrm flipH="1">
            <a:off x="1" y="4"/>
            <a:ext cx="9144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D21B950A-313B-4598-856E-DAA979C1C5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783"/>
          <a:stretch>
            <a:fillRect/>
          </a:stretch>
        </p:blipFill>
        <p:spPr>
          <a:xfrm>
            <a:off x="2" y="1"/>
            <a:ext cx="6195573" cy="6857988"/>
          </a:xfrm>
          <a:custGeom>
            <a:avLst/>
            <a:gdLst>
              <a:gd name="connsiteX0" fmla="*/ 0 w 10244207"/>
              <a:gd name="connsiteY0" fmla="*/ 0 h 10691794"/>
              <a:gd name="connsiteX1" fmla="*/ 8146217 w 10244207"/>
              <a:gd name="connsiteY1" fmla="*/ 0 h 10691794"/>
              <a:gd name="connsiteX2" fmla="*/ 8353793 w 10244207"/>
              <a:gd name="connsiteY2" fmla="*/ 239634 h 10691794"/>
              <a:gd name="connsiteX3" fmla="*/ 10244207 w 10244207"/>
              <a:gd name="connsiteY3" fmla="*/ 5505551 h 10691794"/>
              <a:gd name="connsiteX4" fmla="*/ 8599556 w 10244207"/>
              <a:gd name="connsiteY4" fmla="*/ 10458731 h 10691794"/>
              <a:gd name="connsiteX5" fmla="*/ 8416404 w 10244207"/>
              <a:gd name="connsiteY5" fmla="*/ 10691794 h 10691794"/>
              <a:gd name="connsiteX6" fmla="*/ 0 w 10244207"/>
              <a:gd name="connsiteY6" fmla="*/ 10691794 h 1069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4">
                <a:moveTo>
                  <a:pt x="0" y="0"/>
                </a:moveTo>
                <a:lnTo>
                  <a:pt x="8146217" y="0"/>
                </a:lnTo>
                <a:lnTo>
                  <a:pt x="8353793" y="239634"/>
                </a:lnTo>
                <a:cubicBezTo>
                  <a:pt x="9534774" y="1670653"/>
                  <a:pt x="10244207" y="3505254"/>
                  <a:pt x="10244207" y="5505551"/>
                </a:cubicBezTo>
                <a:cubicBezTo>
                  <a:pt x="10244207" y="7362971"/>
                  <a:pt x="9632502" y="9077518"/>
                  <a:pt x="8599556" y="10458731"/>
                </a:cubicBezTo>
                <a:lnTo>
                  <a:pt x="8416404" y="10691794"/>
                </a:lnTo>
                <a:lnTo>
                  <a:pt x="0" y="10691794"/>
                </a:lnTo>
                <a:close/>
              </a:path>
            </a:pathLst>
          </a:cu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73AB9980-E2C5-4E1C-A71F-816D84D50AAF}"/>
              </a:ext>
            </a:extLst>
          </p:cNvPr>
          <p:cNvSpPr/>
          <p:nvPr userDrawn="1"/>
        </p:nvSpPr>
        <p:spPr>
          <a:xfrm flipH="1">
            <a:off x="3994573" y="4"/>
            <a:ext cx="514942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12" name="Picture 276" descr="Заказ выписок ЕГРН из Росреестра.">
            <a:extLst>
              <a:ext uri="{FF2B5EF4-FFF2-40B4-BE49-F238E27FC236}">
                <a16:creationId xmlns:a16="http://schemas.microsoft.com/office/drawing/2014/main" xmlns="" id="{864ABD1C-5043-43C9-B317-81E9FEFF87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71" y="2958331"/>
            <a:ext cx="586501" cy="94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xmlns="" id="{DBEBBFD1-3577-49A7-A021-E42B328B34F0}"/>
              </a:ext>
            </a:extLst>
          </p:cNvPr>
          <p:cNvSpPr txBox="1">
            <a:spLocks/>
          </p:cNvSpPr>
          <p:nvPr userDrawn="1"/>
        </p:nvSpPr>
        <p:spPr>
          <a:xfrm>
            <a:off x="6530345" y="4120384"/>
            <a:ext cx="2168718" cy="639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1155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155" b="1" dirty="0">
                <a:solidFill>
                  <a:srgbClr val="FFFFFF"/>
                </a:solidFill>
              </a:rPr>
            </a:br>
            <a:r>
              <a:rPr lang="ru-RU" sz="1155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673" b="1" dirty="0">
              <a:solidFill>
                <a:srgbClr val="FFFFFF"/>
              </a:solidFill>
            </a:endParaRPr>
          </a:p>
        </p:txBody>
      </p:sp>
      <p:pic>
        <p:nvPicPr>
          <p:cNvPr id="386073" name="Picture 25">
            <a:extLst>
              <a:ext uri="{FF2B5EF4-FFF2-40B4-BE49-F238E27FC236}">
                <a16:creationId xmlns:a16="http://schemas.microsoft.com/office/drawing/2014/main" xmlns="" id="{E6988F37-F45A-4ECA-83A1-5A8C6B2837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59" t="7906" b="64627"/>
          <a:stretch/>
        </p:blipFill>
        <p:spPr bwMode="auto">
          <a:xfrm>
            <a:off x="7020212" y="3670299"/>
            <a:ext cx="1526060" cy="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189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2" y="6405036"/>
            <a:ext cx="953724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E4FA56B-7356-44FD-9544-E843B7B74151}" type="datetime1">
              <a:rPr lang="ru-RU" smtClean="0"/>
              <a:t>12.10.2021</a:t>
            </a:fld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75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79"/>
                </a:spcAft>
              </a:pPr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53856"/>
              <a:ext cx="7283401" cy="40684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400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7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95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18F4283-95C1-4481-9241-529E562DB599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7982031" cy="271120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4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5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6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7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8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9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0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1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2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3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4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5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6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7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8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9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0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1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2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91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9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D28D44B-4F21-4AA6-8F07-0F8973A6A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5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271120"/>
          </a:xfrm>
        </p:spPr>
        <p:txBody>
          <a:bodyPr/>
          <a:lstStyle>
            <a:lvl1pPr>
              <a:defRPr sz="1958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6"/>
            <a:ext cx="7982584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079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2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C8EBAB8-5ECC-4C80-BB85-427EA75A2D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4" y="-1307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519" tIns="44760" rIns="89519" bIns="44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95B241B2-8323-4827-AA92-1920B13340F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41" y="2158999"/>
            <a:ext cx="273009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66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447620" indent="0" algn="ctr">
              <a:buNone/>
              <a:defRPr sz="1958"/>
            </a:lvl2pPr>
            <a:lvl3pPr marL="895242" indent="0" algn="ctr">
              <a:buNone/>
              <a:defRPr sz="1762"/>
            </a:lvl3pPr>
            <a:lvl4pPr marL="1342863" indent="0" algn="ctr">
              <a:buNone/>
              <a:defRPr sz="1566"/>
            </a:lvl4pPr>
            <a:lvl5pPr marL="1790484" indent="0" algn="ctr">
              <a:buNone/>
              <a:defRPr sz="1566"/>
            </a:lvl5pPr>
            <a:lvl6pPr marL="2238106" indent="0" algn="ctr">
              <a:buNone/>
              <a:defRPr sz="1566"/>
            </a:lvl6pPr>
            <a:lvl7pPr marL="2685726" indent="0" algn="ctr">
              <a:buNone/>
              <a:defRPr sz="1566"/>
            </a:lvl7pPr>
            <a:lvl8pPr marL="3133347" indent="0" algn="ctr">
              <a:buNone/>
              <a:defRPr sz="1566"/>
            </a:lvl8pPr>
            <a:lvl9pPr marL="3580967" indent="0" algn="ctr">
              <a:buNone/>
              <a:defRPr sz="1566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41" y="1227060"/>
            <a:ext cx="2730091" cy="664797"/>
          </a:xfrm>
        </p:spPr>
        <p:txBody>
          <a:bodyPr anchor="t">
            <a:no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775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6479A32-1702-4972-B31D-5CCAFDC46AF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8" y="2668045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80" y="1457807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44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18C771D-C71A-46E9-9AAB-C618E2D1364C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4308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2" y="3682800"/>
            <a:ext cx="856356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7961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4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16DB845-D642-43C7-8535-E3B464D9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A07ADB5-16BA-4D0E-BD3D-0CBA515D4A4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926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6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C5399BC-ACDA-449D-BB5F-CC277456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6" y="4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7BDF499-F3EA-420D-BCB7-F27BB32294F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4563112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0075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37AE0A9-967E-4DE8-9322-59BBA197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11"/>
            <a:ext cx="3412754" cy="3324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885FEE5-A316-4B01-AD88-356834B5CEF5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61997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17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0C77578-97C6-4148-91B9-EF51C7DEE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720489" y="4"/>
            <a:ext cx="385477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2" y="4"/>
            <a:ext cx="672616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19321E0-C969-4B02-9C95-83BF7465570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1" y="622803"/>
            <a:ext cx="5932267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096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7A81A9A-B15D-4422-BFC7-43D1F57A9F46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824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50" y="4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6330A64-3DC4-4C4A-A43B-F2D17D9F4A1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13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222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452715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5" y="4"/>
            <a:ext cx="331310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2" y="4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4CF0E0AA-019F-4854-B8C2-B208DD4F7BB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7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888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1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DD86A1-0D80-4D5D-9955-947D5C604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4179AD7-DAB3-4584-9487-A03DA359019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235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</p:spPr>
        <p:txBody>
          <a:bodyPr anchor="ctr" anchorCtr="0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7599B61-4389-4D1F-8681-C412EA1E200B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3570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4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7E35D50-D996-444A-8FD0-7DBE027B6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B7E22B9-B124-4ECF-B107-DC317A15661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0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144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0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52E1DAC-6942-479C-96A5-7F3A92A2627A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82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677A7F8-FFB5-492C-8E99-F1D83004DF2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42" y="622803"/>
            <a:ext cx="3412754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3799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42" y="622803"/>
            <a:ext cx="3412754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B9AC35B-463E-4FC7-9238-A163769BF503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87856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78B4846-5D34-40B4-A5DC-B6A52EE4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574C8FC-3DE9-43CF-9481-D0D6C0BCFFC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32459"/>
          </a:xfr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03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8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123D111-C99F-4588-B064-E7EA6024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838425B-979F-4EE1-8458-0A0CC46CDDF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4567615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45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4567615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9E073D3-6A33-4EF1-8726-1100AC3A1639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541359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7363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4269C85F-2346-4AFD-BAE0-5E57B9F937C4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7990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1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4C4DA86-0B4D-473B-A8D5-F01B0F7DF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5D38FB85-21FE-4189-B319-5F67980C6DE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2805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09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7B78253-C8B1-4A75-946D-DE97AAFE904F}" type="datetime1">
              <a:rPr lang="ru-RU" smtClean="0"/>
              <a:t>12.10.2021</a:t>
            </a:fld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11" y="1566648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1940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61462AC-3AE0-4356-8553-54E05981FEA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7982031" cy="27112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03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C83A00A-8E38-4965-8951-A39D9EBACD8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2374965"/>
            <a:ext cx="2053661" cy="21080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5"/>
              </a:spcAft>
              <a:buFontTx/>
              <a:buNone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433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CE00764-0330-47CA-8DBE-D1D60B67D4BD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80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E37A088E-F207-41C5-823E-ADA1DD460065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8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46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75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79"/>
                </a:spcAft>
              </a:pPr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53856"/>
              <a:ext cx="7283401" cy="40684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7B18DDF-F4CA-4D4D-A483-D8143A43FDD0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67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BA8F6F6A-A66E-4A7D-B36D-992137A4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32459"/>
          </a:xfr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04117CE-FDB4-4F45-9563-B09AFAF5F184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41358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51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632120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5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5731" tIns="17621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5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581541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5243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308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4745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817479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558" tIns="268558" rIns="268558" bIns="13427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874"/>
              </a:lnSpc>
            </a:pPr>
            <a:endParaRPr lang="en-US" sz="430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817482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58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15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8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580295" y="1206001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580297" y="622805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741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6098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2741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3261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632119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75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5731" tIns="17621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75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581539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5243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308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756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817477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8558" tIns="268558" rIns="268558" bIns="13427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874"/>
              </a:lnSpc>
            </a:pPr>
            <a:endParaRPr lang="en-US" sz="4308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817478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75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05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580295" y="1205999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580297" y="622801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350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479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88"/>
              </a:spcAft>
            </a:pPr>
            <a:r>
              <a:rPr lang="en-US" sz="235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8851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2374965"/>
            <a:ext cx="2053661" cy="210807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5"/>
              </a:spcAft>
              <a:buFontTx/>
              <a:buNone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4568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. Title Only">
  <p:cSld name="1_D. 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76"/>
          <p:cNvSpPr txBox="1">
            <a:spLocks noGrp="1"/>
          </p:cNvSpPr>
          <p:nvPr>
            <p:ph type="dt" idx="10"/>
          </p:nvPr>
        </p:nvSpPr>
        <p:spPr>
          <a:xfrm>
            <a:off x="7304128" y="6271206"/>
            <a:ext cx="953723" cy="287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7F7F7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6BB5A85B-74C7-47BC-B24E-5749197E23EE}" type="datetime1">
              <a:rPr lang="ru-RU" smtClean="0"/>
              <a:t>12.10.2021</a:t>
            </a:fld>
            <a:endParaRPr/>
          </a:p>
        </p:txBody>
      </p:sp>
      <p:sp>
        <p:nvSpPr>
          <p:cNvPr id="26" name="Google Shape;26;p176"/>
          <p:cNvSpPr txBox="1">
            <a:spLocks noGrp="1"/>
          </p:cNvSpPr>
          <p:nvPr>
            <p:ph type="title"/>
          </p:nvPr>
        </p:nvSpPr>
        <p:spPr>
          <a:xfrm>
            <a:off x="581543" y="622803"/>
            <a:ext cx="7982031" cy="271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140"/>
              </a:buClr>
              <a:buSzPts val="2000"/>
              <a:buFont typeface="Trebuchet MS"/>
              <a:buNone/>
              <a:defRPr>
                <a:solidFill>
                  <a:srgbClr val="3741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235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BD2686C-F4F7-4B49-9FA7-547747A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6198CD46-CDC4-4F57-8BF4-F20A902DB768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32459"/>
          </a:xfr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276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2D69362-E362-4F74-9DB3-C77855246CD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914475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76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/>
          <a:p>
            <a:fld id="{54619F70-3FDC-4FEA-AA2E-0941F708D1D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5690C-A273-47D1-BD6D-5226EDB75352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37249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30" y="6405037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426E789-BA39-4B25-AC11-4023A750941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8E2314CC-194C-48C8-8F07-96077B116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544" y="622814"/>
            <a:ext cx="4567615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9365998"/>
      </p:ext>
    </p:extLst>
  </p:cSld>
  <p:clrMapOvr>
    <a:masterClrMapping/>
  </p:clrMapOvr>
  <p:transition spd="slow">
    <p:push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30" y="6405037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8724BB4-7939-43C1-B2D8-9153B032D6EB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57860"/>
      </p:ext>
    </p:extLst>
  </p:cSld>
  <p:clrMapOvr>
    <a:masterClrMapping/>
  </p:clrMapOvr>
  <p:transition spd="slow">
    <p:push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1">
            <a:extLst>
              <a:ext uri="{FF2B5EF4-FFF2-40B4-BE49-F238E27FC236}">
                <a16:creationId xmlns:a16="http://schemas.microsoft.com/office/drawing/2014/main" xmlns="" id="{831A9E99-3E25-ED4E-B528-931146C7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8128" y="6449173"/>
            <a:ext cx="367164" cy="412751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fld id="{C9C1D51D-2F8C-E94D-9244-2D23C69FA09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xmlns="" id="{8308627F-80AA-074A-91C1-3732CCC5EE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4496" y="6431242"/>
            <a:ext cx="5616441" cy="225891"/>
          </a:xfrm>
          <a:prstGeom prst="rect">
            <a:avLst/>
          </a:prstGeom>
        </p:spPr>
        <p:txBody>
          <a:bodyPr vert="horz" lIns="131116" tIns="65558" rIns="131116" bIns="65558" rtlCol="0" anchor="t">
            <a:noAutofit/>
          </a:bodyPr>
          <a:lstStyle>
            <a:lvl1pPr marL="0" indent="0" algn="l" defTabSz="794704" rtl="0" eaLnBrk="1" latinLnBrk="0" hangingPunct="1">
              <a:buClr>
                <a:srgbClr val="606670"/>
              </a:buClr>
              <a:buSzPts val="800"/>
              <a:buFont typeface="Arial" panose="020B0604020202020204" pitchFamily="34" charset="0"/>
              <a:buNone/>
              <a:defRPr lang="en-US" sz="770" kern="1200" dirty="0">
                <a:solidFill>
                  <a:srgbClr val="606670"/>
                </a:solidFill>
                <a:latin typeface="Graphik LCG" panose="020B0503030202060203" pitchFamily="34" charset="0"/>
                <a:ea typeface="Montserrat Light"/>
                <a:cs typeface="Montserrat Light"/>
              </a:defRPr>
            </a:lvl1pPr>
            <a:lvl2pPr marL="198676" indent="0">
              <a:buNone/>
              <a:defRPr lang="en-US" sz="1539" smtClean="0"/>
            </a:lvl2pPr>
            <a:lvl3pPr>
              <a:defRPr lang="en-US" sz="1539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>
              <a:buClr>
                <a:srgbClr val="606670"/>
              </a:buClr>
              <a:buSzPts val="800"/>
            </a:pPr>
            <a:r>
              <a:rPr lang="ru-RU" sz="770" dirty="0">
                <a:solidFill>
                  <a:srgbClr val="606670"/>
                </a:solidFill>
                <a:latin typeface="Graphik LCG" panose="020B0503030202060203" pitchFamily="34" charset="0"/>
                <a:ea typeface="Montserrat Light"/>
                <a:cs typeface="Montserrat Light"/>
                <a:sym typeface="Montserrat Light"/>
              </a:rPr>
              <a:t>Название раздела</a:t>
            </a:r>
          </a:p>
        </p:txBody>
      </p:sp>
      <p:sp>
        <p:nvSpPr>
          <p:cNvPr id="5" name="Заголовок 3">
            <a:extLst>
              <a:ext uri="{FF2B5EF4-FFF2-40B4-BE49-F238E27FC236}">
                <a16:creationId xmlns:a16="http://schemas.microsoft.com/office/drawing/2014/main" xmlns="" id="{0FB9078A-A985-064E-8D63-55646FBF5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151" y="581302"/>
            <a:ext cx="8548800" cy="302032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2181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906255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  <p15:guide id="5" orient="horz" pos="1253" userDrawn="1">
          <p15:clr>
            <a:srgbClr val="FBAE40"/>
          </p15:clr>
        </p15:guide>
        <p15:guide id="6" orient="horz" pos="1706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067" userDrawn="1">
          <p15:clr>
            <a:srgbClr val="FBAE40"/>
          </p15:clr>
        </p15:guide>
        <p15:guide id="10" orient="horz" pos="3521" userDrawn="1">
          <p15:clr>
            <a:srgbClr val="FBAE40"/>
          </p15:clr>
        </p15:guide>
        <p15:guide id="11" orient="horz" pos="3974" userDrawn="1">
          <p15:clr>
            <a:srgbClr val="FBAE40"/>
          </p15:clr>
        </p15:guide>
        <p15:guide id="12" pos="5273" userDrawn="1">
          <p15:clr>
            <a:srgbClr val="FBAE40"/>
          </p15:clr>
        </p15:guide>
        <p15:guide id="13" pos="822" userDrawn="1">
          <p15:clr>
            <a:srgbClr val="FBAE40"/>
          </p15:clr>
        </p15:guide>
        <p15:guide id="14" pos="899" userDrawn="1">
          <p15:clr>
            <a:srgbClr val="FBAE40"/>
          </p15:clr>
        </p15:guide>
        <p15:guide id="15" pos="1226" userDrawn="1">
          <p15:clr>
            <a:srgbClr val="FBAE40"/>
          </p15:clr>
        </p15:guide>
        <p15:guide id="16" pos="1299" userDrawn="1">
          <p15:clr>
            <a:srgbClr val="FBAE40"/>
          </p15:clr>
        </p15:guide>
        <p15:guide id="17" pos="1636" userDrawn="1">
          <p15:clr>
            <a:srgbClr val="FBAE40"/>
          </p15:clr>
        </p15:guide>
        <p15:guide id="18" pos="1707" userDrawn="1">
          <p15:clr>
            <a:srgbClr val="FBAE40"/>
          </p15:clr>
        </p15:guide>
        <p15:guide id="19" pos="2036" userDrawn="1">
          <p15:clr>
            <a:srgbClr val="FBAE40"/>
          </p15:clr>
        </p15:guide>
        <p15:guide id="20" pos="2107" userDrawn="1">
          <p15:clr>
            <a:srgbClr val="FBAE40"/>
          </p15:clr>
        </p15:guide>
        <p15:guide id="21" pos="2439" userDrawn="1">
          <p15:clr>
            <a:srgbClr val="FBAE40"/>
          </p15:clr>
        </p15:guide>
        <p15:guide id="22" pos="2513" userDrawn="1">
          <p15:clr>
            <a:srgbClr val="FBAE40"/>
          </p15:clr>
        </p15:guide>
        <p15:guide id="24" pos="2915" userDrawn="1">
          <p15:clr>
            <a:srgbClr val="FBAE40"/>
          </p15:clr>
        </p15:guide>
        <p15:guide id="25" pos="3245" userDrawn="1">
          <p15:clr>
            <a:srgbClr val="FBAE40"/>
          </p15:clr>
        </p15:guide>
        <p15:guide id="26" pos="3320" userDrawn="1">
          <p15:clr>
            <a:srgbClr val="FBAE40"/>
          </p15:clr>
        </p15:guide>
        <p15:guide id="27" pos="3646" userDrawn="1">
          <p15:clr>
            <a:srgbClr val="FBAE40"/>
          </p15:clr>
        </p15:guide>
        <p15:guide id="28" pos="3721" userDrawn="1">
          <p15:clr>
            <a:srgbClr val="FBAE40"/>
          </p15:clr>
        </p15:guide>
        <p15:guide id="29" pos="4055" userDrawn="1">
          <p15:clr>
            <a:srgbClr val="FBAE40"/>
          </p15:clr>
        </p15:guide>
        <p15:guide id="30" pos="4126" userDrawn="1">
          <p15:clr>
            <a:srgbClr val="FBAE40"/>
          </p15:clr>
        </p15:guide>
        <p15:guide id="31" pos="4458" userDrawn="1">
          <p15:clr>
            <a:srgbClr val="FBAE40"/>
          </p15:clr>
        </p15:guide>
        <p15:guide id="32" pos="4532" userDrawn="1">
          <p15:clr>
            <a:srgbClr val="FBAE40"/>
          </p15:clr>
        </p15:guide>
        <p15:guide id="33" pos="4858" userDrawn="1">
          <p15:clr>
            <a:srgbClr val="FBAE40"/>
          </p15:clr>
        </p15:guide>
        <p15:guide id="34" pos="4928" userDrawn="1">
          <p15:clr>
            <a:srgbClr val="FBAE40"/>
          </p15:clr>
        </p15:guide>
        <p15:guide id="35" pos="2839" userDrawn="1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1">
            <a:extLst>
              <a:ext uri="{FF2B5EF4-FFF2-40B4-BE49-F238E27FC236}">
                <a16:creationId xmlns:a16="http://schemas.microsoft.com/office/drawing/2014/main" xmlns="" id="{831A9E99-3E25-ED4E-B528-931146C7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4198" y="6449173"/>
            <a:ext cx="367164" cy="412751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fld id="{C9C1D51D-2F8C-E94D-9244-2D23C69FA0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190F1AE1-F5D4-EA4C-B78E-EECAD531B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6285" y="479702"/>
            <a:ext cx="6985396" cy="516872"/>
          </a:xfrm>
          <a:prstGeom prst="rect">
            <a:avLst/>
          </a:prstGeom>
        </p:spPr>
        <p:txBody>
          <a:bodyPr vert="horz" lIns="131116" tIns="51620" rIns="131116" bIns="65558" rtlCol="0" anchor="t">
            <a:noAutofit/>
          </a:bodyPr>
          <a:lstStyle>
            <a:lvl1pPr marL="0" algn="l" defTabSz="7947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dirty="0"/>
              <a:t>Название слайда</a:t>
            </a:r>
          </a:p>
        </p:txBody>
      </p:sp>
    </p:spTree>
    <p:extLst>
      <p:ext uri="{BB962C8B-B14F-4D97-AF65-F5344CB8AC3E}">
        <p14:creationId xmlns:p14="http://schemas.microsoft.com/office/powerpoint/2010/main" val="39612822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  <p15:guide id="5" orient="horz" pos="1253" userDrawn="1">
          <p15:clr>
            <a:srgbClr val="FBAE40"/>
          </p15:clr>
        </p15:guide>
        <p15:guide id="6" orient="horz" pos="1706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067" userDrawn="1">
          <p15:clr>
            <a:srgbClr val="FBAE40"/>
          </p15:clr>
        </p15:guide>
        <p15:guide id="10" orient="horz" pos="3521" userDrawn="1">
          <p15:clr>
            <a:srgbClr val="FBAE40"/>
          </p15:clr>
        </p15:guide>
        <p15:guide id="11" orient="horz" pos="3974" userDrawn="1">
          <p15:clr>
            <a:srgbClr val="FBAE40"/>
          </p15:clr>
        </p15:guide>
        <p15:guide id="12" pos="5261" userDrawn="1">
          <p15:clr>
            <a:srgbClr val="FBAE40"/>
          </p15:clr>
        </p15:guide>
        <p15:guide id="13" pos="822" userDrawn="1">
          <p15:clr>
            <a:srgbClr val="FBAE40"/>
          </p15:clr>
        </p15:guide>
        <p15:guide id="14" pos="899" userDrawn="1">
          <p15:clr>
            <a:srgbClr val="FBAE40"/>
          </p15:clr>
        </p15:guide>
        <p15:guide id="15" pos="1226" userDrawn="1">
          <p15:clr>
            <a:srgbClr val="FBAE40"/>
          </p15:clr>
        </p15:guide>
        <p15:guide id="16" pos="1299" userDrawn="1">
          <p15:clr>
            <a:srgbClr val="FBAE40"/>
          </p15:clr>
        </p15:guide>
        <p15:guide id="17" pos="1636" userDrawn="1">
          <p15:clr>
            <a:srgbClr val="FBAE40"/>
          </p15:clr>
        </p15:guide>
        <p15:guide id="18" pos="1707" userDrawn="1">
          <p15:clr>
            <a:srgbClr val="FBAE40"/>
          </p15:clr>
        </p15:guide>
        <p15:guide id="19" pos="2036" userDrawn="1">
          <p15:clr>
            <a:srgbClr val="FBAE40"/>
          </p15:clr>
        </p15:guide>
        <p15:guide id="20" pos="2107" userDrawn="1">
          <p15:clr>
            <a:srgbClr val="FBAE40"/>
          </p15:clr>
        </p15:guide>
        <p15:guide id="21" pos="2439" userDrawn="1">
          <p15:clr>
            <a:srgbClr val="FBAE40"/>
          </p15:clr>
        </p15:guide>
        <p15:guide id="22" pos="2506" userDrawn="1">
          <p15:clr>
            <a:srgbClr val="FBAE40"/>
          </p15:clr>
        </p15:guide>
        <p15:guide id="24" pos="2915" userDrawn="1">
          <p15:clr>
            <a:srgbClr val="FBAE40"/>
          </p15:clr>
        </p15:guide>
        <p15:guide id="25" pos="3245" userDrawn="1">
          <p15:clr>
            <a:srgbClr val="FBAE40"/>
          </p15:clr>
        </p15:guide>
        <p15:guide id="26" pos="3320" userDrawn="1">
          <p15:clr>
            <a:srgbClr val="FBAE40"/>
          </p15:clr>
        </p15:guide>
        <p15:guide id="27" pos="3646" userDrawn="1">
          <p15:clr>
            <a:srgbClr val="FBAE40"/>
          </p15:clr>
        </p15:guide>
        <p15:guide id="28" pos="3721" userDrawn="1">
          <p15:clr>
            <a:srgbClr val="FBAE40"/>
          </p15:clr>
        </p15:guide>
        <p15:guide id="29" pos="4055" userDrawn="1">
          <p15:clr>
            <a:srgbClr val="FBAE40"/>
          </p15:clr>
        </p15:guide>
        <p15:guide id="30" pos="4126" userDrawn="1">
          <p15:clr>
            <a:srgbClr val="FBAE40"/>
          </p15:clr>
        </p15:guide>
        <p15:guide id="31" pos="4458" userDrawn="1">
          <p15:clr>
            <a:srgbClr val="FBAE40"/>
          </p15:clr>
        </p15:guide>
        <p15:guide id="32" pos="4532" userDrawn="1">
          <p15:clr>
            <a:srgbClr val="FBAE40"/>
          </p15:clr>
        </p15:guide>
        <p15:guide id="33" pos="4858" userDrawn="1">
          <p15:clr>
            <a:srgbClr val="FBAE40"/>
          </p15:clr>
        </p15:guide>
        <p15:guide id="34" pos="4928" userDrawn="1">
          <p15:clr>
            <a:srgbClr val="FBAE40"/>
          </p15:clr>
        </p15:guide>
        <p15:guide id="35" pos="2839" userDrawn="1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1">
            <a:extLst>
              <a:ext uri="{FF2B5EF4-FFF2-40B4-BE49-F238E27FC236}">
                <a16:creationId xmlns:a16="http://schemas.microsoft.com/office/drawing/2014/main" xmlns="" id="{831A9E99-3E25-ED4E-B528-931146C7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4198" y="6449173"/>
            <a:ext cx="367164" cy="412751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fld id="{C9C1D51D-2F8C-E94D-9244-2D23C69FA09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190F1AE1-F5D4-EA4C-B78E-EECAD531B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6114" y="512843"/>
            <a:ext cx="6985396" cy="516872"/>
          </a:xfrm>
          <a:prstGeom prst="rect">
            <a:avLst/>
          </a:prstGeom>
        </p:spPr>
        <p:txBody>
          <a:bodyPr vert="horz" lIns="131116" tIns="51620" rIns="131116" bIns="65558" rtlCol="0" anchor="t">
            <a:noAutofit/>
          </a:bodyPr>
          <a:lstStyle>
            <a:lvl1pPr marL="0" algn="l" defTabSz="79470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dirty="0"/>
              <a:t>Название слайда</a:t>
            </a:r>
          </a:p>
        </p:txBody>
      </p:sp>
    </p:spTree>
    <p:extLst>
      <p:ext uri="{BB962C8B-B14F-4D97-AF65-F5344CB8AC3E}">
        <p14:creationId xmlns:p14="http://schemas.microsoft.com/office/powerpoint/2010/main" val="39134646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6" userDrawn="1">
          <p15:clr>
            <a:srgbClr val="FBAE40"/>
          </p15:clr>
        </p15:guide>
        <p15:guide id="3" pos="499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  <p15:guide id="5" orient="horz" pos="1253" userDrawn="1">
          <p15:clr>
            <a:srgbClr val="FBAE40"/>
          </p15:clr>
        </p15:guide>
        <p15:guide id="6" orient="horz" pos="1706" userDrawn="1">
          <p15:clr>
            <a:srgbClr val="FBAE40"/>
          </p15:clr>
        </p15:guide>
        <p15:guide id="7" orient="horz" pos="2160" userDrawn="1">
          <p15:clr>
            <a:srgbClr val="FBAE40"/>
          </p15:clr>
        </p15:guide>
        <p15:guide id="8" orient="horz" pos="2614" userDrawn="1">
          <p15:clr>
            <a:srgbClr val="FBAE40"/>
          </p15:clr>
        </p15:guide>
        <p15:guide id="9" orient="horz" pos="3067" userDrawn="1">
          <p15:clr>
            <a:srgbClr val="FBAE40"/>
          </p15:clr>
        </p15:guide>
        <p15:guide id="10" orient="horz" pos="3521" userDrawn="1">
          <p15:clr>
            <a:srgbClr val="FBAE40"/>
          </p15:clr>
        </p15:guide>
        <p15:guide id="11" orient="horz" pos="3974" userDrawn="1">
          <p15:clr>
            <a:srgbClr val="FBAE40"/>
          </p15:clr>
        </p15:guide>
        <p15:guide id="12" pos="5261" userDrawn="1">
          <p15:clr>
            <a:srgbClr val="FBAE40"/>
          </p15:clr>
        </p15:guide>
        <p15:guide id="13" pos="822" userDrawn="1">
          <p15:clr>
            <a:srgbClr val="FBAE40"/>
          </p15:clr>
        </p15:guide>
        <p15:guide id="14" pos="899" userDrawn="1">
          <p15:clr>
            <a:srgbClr val="FBAE40"/>
          </p15:clr>
        </p15:guide>
        <p15:guide id="15" pos="1226" userDrawn="1">
          <p15:clr>
            <a:srgbClr val="FBAE40"/>
          </p15:clr>
        </p15:guide>
        <p15:guide id="16" pos="1299" userDrawn="1">
          <p15:clr>
            <a:srgbClr val="FBAE40"/>
          </p15:clr>
        </p15:guide>
        <p15:guide id="17" pos="1636" userDrawn="1">
          <p15:clr>
            <a:srgbClr val="FBAE40"/>
          </p15:clr>
        </p15:guide>
        <p15:guide id="18" pos="1707" userDrawn="1">
          <p15:clr>
            <a:srgbClr val="FBAE40"/>
          </p15:clr>
        </p15:guide>
        <p15:guide id="19" pos="2036" userDrawn="1">
          <p15:clr>
            <a:srgbClr val="FBAE40"/>
          </p15:clr>
        </p15:guide>
        <p15:guide id="20" pos="2107" userDrawn="1">
          <p15:clr>
            <a:srgbClr val="FBAE40"/>
          </p15:clr>
        </p15:guide>
        <p15:guide id="21" pos="2439" userDrawn="1">
          <p15:clr>
            <a:srgbClr val="FBAE40"/>
          </p15:clr>
        </p15:guide>
        <p15:guide id="22" pos="2506" userDrawn="1">
          <p15:clr>
            <a:srgbClr val="FBAE40"/>
          </p15:clr>
        </p15:guide>
        <p15:guide id="24" pos="2915" userDrawn="1">
          <p15:clr>
            <a:srgbClr val="FBAE40"/>
          </p15:clr>
        </p15:guide>
        <p15:guide id="25" pos="3245" userDrawn="1">
          <p15:clr>
            <a:srgbClr val="FBAE40"/>
          </p15:clr>
        </p15:guide>
        <p15:guide id="26" pos="3320" userDrawn="1">
          <p15:clr>
            <a:srgbClr val="FBAE40"/>
          </p15:clr>
        </p15:guide>
        <p15:guide id="27" pos="3646" userDrawn="1">
          <p15:clr>
            <a:srgbClr val="FBAE40"/>
          </p15:clr>
        </p15:guide>
        <p15:guide id="28" pos="3721" userDrawn="1">
          <p15:clr>
            <a:srgbClr val="FBAE40"/>
          </p15:clr>
        </p15:guide>
        <p15:guide id="29" pos="4055" userDrawn="1">
          <p15:clr>
            <a:srgbClr val="FBAE40"/>
          </p15:clr>
        </p15:guide>
        <p15:guide id="30" pos="4126" userDrawn="1">
          <p15:clr>
            <a:srgbClr val="FBAE40"/>
          </p15:clr>
        </p15:guide>
        <p15:guide id="31" pos="4458" userDrawn="1">
          <p15:clr>
            <a:srgbClr val="FBAE40"/>
          </p15:clr>
        </p15:guide>
        <p15:guide id="32" pos="4532" userDrawn="1">
          <p15:clr>
            <a:srgbClr val="FBAE40"/>
          </p15:clr>
        </p15:guide>
        <p15:guide id="33" pos="4858" userDrawn="1">
          <p15:clr>
            <a:srgbClr val="FBAE40"/>
          </p15:clr>
        </p15:guide>
        <p15:guide id="34" pos="4928" userDrawn="1">
          <p15:clr>
            <a:srgbClr val="FBAE40"/>
          </p15:clr>
        </p15:guide>
        <p15:guide id="35" pos="2839" userDrawn="1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6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52" name="think-cell Slide" r:id="rId5" imgW="444" imgH="443" progId="TCLayout.ActiveDocument.1">
                  <p:embed/>
                </p:oleObj>
              </mc:Choice>
              <mc:Fallback>
                <p:oleObj name="think-cell Slide" r:id="rId5" imgW="444" imgH="44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6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3" y="4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191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323854" y="6544688"/>
            <a:ext cx="7715708" cy="16966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636" b="0" i="0">
                <a:solidFill>
                  <a:srgbClr val="92928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69E31BA9-9ABE-9B44-A924-42ABA18139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F5173DC1-4570-47DF-91D0-2143038421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32602" y="6465521"/>
            <a:ext cx="2057400" cy="14680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954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5FFB5A1-13CA-42AA-9B20-81B60DCDD20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31" name="Picture 30" descr="http://9F3003E25B23DB80664C183C444E2D54.dms.sberbank.ru/9F3003E25B23DB80664C183C444E2D54-45FDCC9C7560CF35DA88EEE9435DF9FE-9B41346CF31F689632F0AD7F963FED2D/1.png"/>
          <p:cNvPicPr>
            <a:picLocks/>
          </p:cNvPicPr>
          <p:nvPr userDrawn="1"/>
        </p:nvPicPr>
        <p:blipFill>
          <a:blip r:link="rId7"/>
          <a:stretch>
            <a:fillRect/>
          </a:stretch>
        </p:blipFill>
        <p:spPr>
          <a:xfrm>
            <a:off x="5" y="0"/>
            <a:ext cx="1191" cy="1588"/>
          </a:xfrm>
          <a:prstGeom prst="rect">
            <a:avLst/>
          </a:prstGeom>
        </p:spPr>
      </p:pic>
      <p:pic>
        <p:nvPicPr>
          <p:cNvPr id="5" name="Picture 4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5" y="0"/>
            <a:ext cx="1191" cy="1588"/>
          </a:xfrm>
          <a:prstGeom prst="rect">
            <a:avLst/>
          </a:prstGeom>
        </p:spPr>
      </p:pic>
      <p:pic>
        <p:nvPicPr>
          <p:cNvPr id="6" name="Picture 5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5" y="0"/>
            <a:ext cx="1191" cy="1588"/>
          </a:xfrm>
          <a:prstGeom prst="rect">
            <a:avLst/>
          </a:prstGeom>
        </p:spPr>
      </p:pic>
      <p:pic>
        <p:nvPicPr>
          <p:cNvPr id="8" name="Picture 7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8"/>
          <a:stretch>
            <a:fillRect/>
          </a:stretch>
        </p:blipFill>
        <p:spPr>
          <a:xfrm>
            <a:off x="5" y="0"/>
            <a:ext cx="1191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1292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414155"/>
              </p:ext>
            </p:ext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0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39048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B8F3CEA-B622-4CEE-B1CE-3916DECC9EF7}"/>
              </a:ext>
            </a:extLst>
          </p:cNvPr>
          <p:cNvSpPr/>
          <p:nvPr userDrawn="1"/>
        </p:nvSpPr>
        <p:spPr>
          <a:xfrm>
            <a:off x="1" y="4"/>
            <a:ext cx="9144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900" dirty="0" err="1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2C6C4F34-2E5C-4F88-82D1-D5EBA8C9EC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63"/>
          <a:stretch>
            <a:fillRect/>
          </a:stretch>
        </p:blipFill>
        <p:spPr>
          <a:xfrm>
            <a:off x="2948432" y="4"/>
            <a:ext cx="6195573" cy="6857989"/>
          </a:xfrm>
          <a:custGeom>
            <a:avLst/>
            <a:gdLst>
              <a:gd name="connsiteX0" fmla="*/ 2097992 w 10244207"/>
              <a:gd name="connsiteY0" fmla="*/ 0 h 10691796"/>
              <a:gd name="connsiteX1" fmla="*/ 10244207 w 10244207"/>
              <a:gd name="connsiteY1" fmla="*/ 0 h 10691796"/>
              <a:gd name="connsiteX2" fmla="*/ 10244207 w 10244207"/>
              <a:gd name="connsiteY2" fmla="*/ 10691796 h 10691796"/>
              <a:gd name="connsiteX3" fmla="*/ 1827803 w 10244207"/>
              <a:gd name="connsiteY3" fmla="*/ 10691796 h 10691796"/>
              <a:gd name="connsiteX4" fmla="*/ 1644651 w 10244207"/>
              <a:gd name="connsiteY4" fmla="*/ 10458733 h 10691796"/>
              <a:gd name="connsiteX5" fmla="*/ 0 w 10244207"/>
              <a:gd name="connsiteY5" fmla="*/ 5505553 h 10691796"/>
              <a:gd name="connsiteX6" fmla="*/ 1890414 w 10244207"/>
              <a:gd name="connsiteY6" fmla="*/ 239636 h 1069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6">
                <a:moveTo>
                  <a:pt x="2097992" y="0"/>
                </a:moveTo>
                <a:lnTo>
                  <a:pt x="10244207" y="0"/>
                </a:lnTo>
                <a:lnTo>
                  <a:pt x="10244207" y="10691796"/>
                </a:lnTo>
                <a:lnTo>
                  <a:pt x="1827803" y="10691796"/>
                </a:lnTo>
                <a:lnTo>
                  <a:pt x="1644651" y="10458733"/>
                </a:lnTo>
                <a:cubicBezTo>
                  <a:pt x="611705" y="9077520"/>
                  <a:pt x="0" y="7362973"/>
                  <a:pt x="0" y="5505553"/>
                </a:cubicBezTo>
                <a:cubicBezTo>
                  <a:pt x="0" y="3505256"/>
                  <a:pt x="709433" y="1670655"/>
                  <a:pt x="1890414" y="239636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A4B8A7A7-BAE6-4F9E-A1F1-D3826D22B7E2}"/>
              </a:ext>
            </a:extLst>
          </p:cNvPr>
          <p:cNvSpPr/>
          <p:nvPr userDrawn="1"/>
        </p:nvSpPr>
        <p:spPr>
          <a:xfrm>
            <a:off x="1" y="4"/>
            <a:ext cx="514942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900" dirty="0" err="1">
              <a:solidFill>
                <a:srgbClr val="FFFFFF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67"/>
            <a:ext cx="3859133" cy="338581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000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7518" indent="0" algn="ctr">
              <a:buNone/>
              <a:defRPr/>
            </a:lvl4pPr>
            <a:lvl5pPr marL="515036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342615"/>
            <a:ext cx="3859132" cy="5151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600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193812" name="Picture 276" descr="Заказ выписок ЕГРН из Росреестра.">
            <a:extLst>
              <a:ext uri="{FF2B5EF4-FFF2-40B4-BE49-F238E27FC236}">
                <a16:creationId xmlns:a16="http://schemas.microsoft.com/office/drawing/2014/main" xmlns="" id="{48EA4FD4-1A07-40DB-A91B-E8E0786871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84" y="621645"/>
            <a:ext cx="586501" cy="94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809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736600"/>
              </p:ext>
            </p:ext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2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39048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48773" y="4"/>
            <a:ext cx="6695228" cy="6857989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4F1022C-A41F-4F64-A704-343E6666F2DE}"/>
              </a:ext>
            </a:extLst>
          </p:cNvPr>
          <p:cNvSpPr/>
          <p:nvPr userDrawn="1"/>
        </p:nvSpPr>
        <p:spPr>
          <a:xfrm>
            <a:off x="3021762" y="4"/>
            <a:ext cx="6122238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997" tIns="51499" rIns="102997" bIns="514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V="1">
            <a:off x="2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3686" tIns="83686" rIns="83686" bIns="83686" rtlCol="0" anchor="ctr">
            <a:noAutofit/>
          </a:bodyPr>
          <a:lstStyle/>
          <a:p>
            <a:pPr algn="ctr" defTabSz="1039048">
              <a:lnSpc>
                <a:spcPct val="95000"/>
              </a:lnSpc>
            </a:pPr>
            <a:endParaRPr lang="en-US" sz="1300" kern="0" dirty="0">
              <a:solidFill>
                <a:prstClr val="white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67"/>
            <a:ext cx="3859133" cy="338581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000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7518" indent="0" algn="ctr">
              <a:buNone/>
              <a:defRPr/>
            </a:lvl4pPr>
            <a:lvl5pPr marL="515036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342615"/>
            <a:ext cx="3859132" cy="51514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600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9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5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41D355E3-45EE-4E50-B476-14B0C8A3240E}" type="datetime1">
              <a:rPr lang="ru-RU" sz="2000" smtClean="0">
                <a:solidFill>
                  <a:srgbClr val="575757"/>
                </a:solidFill>
              </a:rPr>
              <a:t>12.10.2021</a:t>
            </a:fld>
            <a:endParaRPr lang="en-US" sz="2000" dirty="0">
              <a:solidFill>
                <a:srgbClr val="575757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09"/>
            <a:ext cx="7982031" cy="373919"/>
          </a:xfr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4133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F3D2C4E-5C0D-41F0-B61A-EC084746F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3F3762B-DAF5-4011-85BA-015FB0CC710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75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5479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00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7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09"/>
            <a:ext cx="7982031" cy="373919"/>
          </a:xfr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9"/>
            <a:ext cx="7982584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3251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0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32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6" y="7"/>
            <a:ext cx="355261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997" tIns="51499" rIns="102997" bIns="5149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CA3D90D6-AD15-451B-9370-0DECE5819431}" type="datetime1">
              <a:rPr lang="ru-RU" sz="2000" smtClean="0">
                <a:solidFill>
                  <a:srgbClr val="575757"/>
                </a:solidFill>
              </a:rPr>
              <a:t>12.10.2021</a:t>
            </a:fld>
            <a:endParaRPr lang="en-US" sz="2000" dirty="0">
              <a:solidFill>
                <a:srgbClr val="575757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41" y="1544274"/>
            <a:ext cx="2519630" cy="1495794"/>
          </a:xfrm>
          <a:noFill/>
        </p:spPr>
        <p:txBody>
          <a:bodyPr wrap="square" lIns="0" tIns="0" rIns="236190" bIns="0" anchor="b">
            <a:noAutofit/>
          </a:bodyPr>
          <a:lstStyle>
            <a:lvl1pPr>
              <a:defRPr sz="3200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83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AB6165E3-C6B7-48F6-B86D-2138A53CD360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8" y="2668045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02448" tIns="202448" rIns="202448" bIns="101224" anchor="b">
            <a:noAutofit/>
          </a:bodyPr>
          <a:lstStyle>
            <a:lvl1pPr marL="0" algn="l" defTabSz="1030073" rtl="0" eaLnBrk="1" fontAlgn="auto" latinLnBrk="0" hangingPunct="1">
              <a:lnSpc>
                <a:spcPts val="6760"/>
              </a:lnSpc>
              <a:spcBef>
                <a:spcPts val="0"/>
              </a:spcBef>
              <a:spcAft>
                <a:spcPts val="0"/>
              </a:spcAft>
              <a:defRPr lang="en-US" sz="500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9" y="1457807"/>
            <a:ext cx="8466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56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98F35136-5434-4E8F-A67E-F49B66B19B42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500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42" y="3680016"/>
            <a:ext cx="8562461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7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45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32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18F5074B-1685-4BCD-BEF1-1AFE4009B2CB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2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5713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5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6" y="4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CE8589E1-DB41-4711-94C8-812116554545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09"/>
            <a:ext cx="4567615" cy="373919"/>
          </a:xfrm>
          <a:prstGeom prst="rect">
            <a:avLst/>
          </a:prstGeo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961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4B47E9C5-02FF-4CE8-AA53-9AF71C41B428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6337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50" y="4"/>
            <a:ext cx="4572554" cy="6858000"/>
          </a:xfrm>
          <a:prstGeom prst="rect">
            <a:avLst/>
          </a:prstGeom>
          <a:noFill/>
        </p:spPr>
        <p:txBody>
          <a:bodyPr lIns="674827" tIns="674827" rIns="674827" bIns="674827"/>
          <a:lstStyle>
            <a:lvl1pPr algn="ctr">
              <a:defRPr sz="20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FABE65DB-E902-4630-9339-6DAC685B6DA2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42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236190" bIns="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077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026024"/>
              </p:ext>
            </p:ext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7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32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FFE11EBA-B6C2-4E95-AD45-761576AC25C7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43" y="2680204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985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43" y="2680203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ED83BBD5-87CE-4990-8AEA-34D33AA2EC43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44620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11" y="1566650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04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36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F63A69AF-855B-4398-BFF8-E8305A17106C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111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B2CDA348-BEC1-4F46-9716-A406C21594AF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8949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2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05C407BB-F115-4ED1-AC3B-FB65A678D732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9"/>
            <a:ext cx="3412754" cy="37391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313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4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9"/>
            <a:ext cx="3412754" cy="37391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7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62FB0FFA-3B58-4CEF-854E-16C922063DC8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4497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7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5843A566-D02B-42AB-9773-DE07AE93CB79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09"/>
            <a:ext cx="4567615" cy="373919"/>
          </a:xfr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5982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9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09"/>
            <a:ext cx="4567615" cy="373919"/>
          </a:xfrm>
        </p:spPr>
        <p:txBody>
          <a:bodyPr/>
          <a:lstStyle>
            <a:lvl1pPr>
              <a:defRPr sz="27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694E1920-7F5A-4E65-81A3-66A55429A654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541359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8699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73A068D9-CD31-4ED7-8BC5-02A4067FC0E2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1030073" rtl="0" eaLnBrk="1" fontAlgn="auto" latinLnBrk="0" hangingPunct="1">
              <a:lnSpc>
                <a:spcPts val="6760"/>
              </a:lnSpc>
              <a:spcBef>
                <a:spcPts val="0"/>
              </a:spcBef>
              <a:spcAft>
                <a:spcPts val="0"/>
              </a:spcAft>
              <a:defRPr lang="en-US" sz="500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505043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1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5002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D35106A8-CF24-42FB-84A2-D11496B5D383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30073" rtl="0" eaLnBrk="1" fontAlgn="auto" latinLnBrk="0" hangingPunct="1">
              <a:lnSpc>
                <a:spcPts val="6760"/>
              </a:lnSpc>
              <a:spcBef>
                <a:spcPts val="0"/>
              </a:spcBef>
              <a:spcAft>
                <a:spcPts val="0"/>
              </a:spcAft>
              <a:defRPr lang="en-US" sz="5002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5479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50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039048"/>
              <a:endParaRPr lang="en-US" sz="3100" dirty="0">
                <a:solidFill>
                  <a:srgbClr val="575757"/>
                </a:solidFill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039048"/>
              <a:endParaRPr lang="en-US" sz="3100" dirty="0">
                <a:solidFill>
                  <a:srgbClr val="575757"/>
                </a:solidFill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11" y="1566648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708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4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8264493" y="6389020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A6E949BE-601C-4642-92C6-9EDB623915D7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09"/>
            <a:ext cx="7982031" cy="373919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21749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869E05E-F5C3-4EFB-97F7-778343B7F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8264497" y="6404404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4B87272-F85F-48A3-8C47-52B96DE6838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3245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37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CDEA65E5-B82B-44AC-95C3-9C670F8E5D8C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25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503012" y="6389020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D8DB0E04-B3CD-4F78-A241-3BC011806FDD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02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0179725"/>
              </p:ext>
            </p:ext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6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" y="5"/>
            <a:ext cx="6944351" cy="6857999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H="1">
            <a:off x="3768134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3686" tIns="83686" rIns="83686" bIns="83686" rtlCol="0" anchor="ctr">
            <a:noAutofit/>
          </a:bodyPr>
          <a:lstStyle/>
          <a:p>
            <a:pPr algn="ctr" defTabSz="1039048">
              <a:lnSpc>
                <a:spcPct val="95000"/>
              </a:lnSpc>
            </a:pPr>
            <a:endParaRPr lang="en-US" sz="1300" kern="0" dirty="0">
              <a:solidFill>
                <a:prstClr val="white"/>
              </a:solidFill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7" name="Рисунок 90">
            <a:extLst>
              <a:ext uri="{FF2B5EF4-FFF2-40B4-BE49-F238E27FC236}">
                <a16:creationId xmlns:a16="http://schemas.microsoft.com/office/drawing/2014/main" xmlns="" id="{4078F789-193A-452C-A23D-73B351F62D6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/>
          <a:stretch>
            <a:fillRect/>
          </a:stretch>
        </p:blipFill>
        <p:spPr>
          <a:xfrm>
            <a:off x="5614574" y="2483172"/>
            <a:ext cx="2972159" cy="1281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61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198018"/>
              </p:ext>
            </p:ext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8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82F3149-8CEE-4A6B-AF61-491C73DD7289}"/>
              </a:ext>
            </a:extLst>
          </p:cNvPr>
          <p:cNvSpPr/>
          <p:nvPr userDrawn="1"/>
        </p:nvSpPr>
        <p:spPr>
          <a:xfrm flipH="1">
            <a:off x="1" y="4"/>
            <a:ext cx="9144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900" dirty="0" err="1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D21B950A-313B-4598-856E-DAA979C1C5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783"/>
          <a:stretch>
            <a:fillRect/>
          </a:stretch>
        </p:blipFill>
        <p:spPr>
          <a:xfrm>
            <a:off x="2" y="1"/>
            <a:ext cx="6195573" cy="6857988"/>
          </a:xfrm>
          <a:custGeom>
            <a:avLst/>
            <a:gdLst>
              <a:gd name="connsiteX0" fmla="*/ 0 w 10244207"/>
              <a:gd name="connsiteY0" fmla="*/ 0 h 10691794"/>
              <a:gd name="connsiteX1" fmla="*/ 8146217 w 10244207"/>
              <a:gd name="connsiteY1" fmla="*/ 0 h 10691794"/>
              <a:gd name="connsiteX2" fmla="*/ 8353793 w 10244207"/>
              <a:gd name="connsiteY2" fmla="*/ 239634 h 10691794"/>
              <a:gd name="connsiteX3" fmla="*/ 10244207 w 10244207"/>
              <a:gd name="connsiteY3" fmla="*/ 5505551 h 10691794"/>
              <a:gd name="connsiteX4" fmla="*/ 8599556 w 10244207"/>
              <a:gd name="connsiteY4" fmla="*/ 10458731 h 10691794"/>
              <a:gd name="connsiteX5" fmla="*/ 8416404 w 10244207"/>
              <a:gd name="connsiteY5" fmla="*/ 10691794 h 10691794"/>
              <a:gd name="connsiteX6" fmla="*/ 0 w 10244207"/>
              <a:gd name="connsiteY6" fmla="*/ 10691794 h 1069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4">
                <a:moveTo>
                  <a:pt x="0" y="0"/>
                </a:moveTo>
                <a:lnTo>
                  <a:pt x="8146217" y="0"/>
                </a:lnTo>
                <a:lnTo>
                  <a:pt x="8353793" y="239634"/>
                </a:lnTo>
                <a:cubicBezTo>
                  <a:pt x="9534774" y="1670653"/>
                  <a:pt x="10244207" y="3505254"/>
                  <a:pt x="10244207" y="5505551"/>
                </a:cubicBezTo>
                <a:cubicBezTo>
                  <a:pt x="10244207" y="7362971"/>
                  <a:pt x="9632502" y="9077518"/>
                  <a:pt x="8599556" y="10458731"/>
                </a:cubicBezTo>
                <a:lnTo>
                  <a:pt x="8416404" y="10691794"/>
                </a:lnTo>
                <a:lnTo>
                  <a:pt x="0" y="10691794"/>
                </a:lnTo>
                <a:close/>
              </a:path>
            </a:pathLst>
          </a:cu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73AB9980-E2C5-4E1C-A71F-816D84D50AAF}"/>
              </a:ext>
            </a:extLst>
          </p:cNvPr>
          <p:cNvSpPr/>
          <p:nvPr userDrawn="1"/>
        </p:nvSpPr>
        <p:spPr>
          <a:xfrm flipH="1">
            <a:off x="3994573" y="4"/>
            <a:ext cx="514942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900" dirty="0" err="1">
              <a:solidFill>
                <a:srgbClr val="FFFFFF"/>
              </a:solidFill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12" name="Picture 276" descr="Заказ выписок ЕГРН из Росреестра.">
            <a:extLst>
              <a:ext uri="{FF2B5EF4-FFF2-40B4-BE49-F238E27FC236}">
                <a16:creationId xmlns:a16="http://schemas.microsoft.com/office/drawing/2014/main" xmlns="" id="{864ABD1C-5043-43C9-B317-81E9FEFF87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71" y="2958331"/>
            <a:ext cx="586501" cy="94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xmlns="" id="{DBEBBFD1-3577-49A7-A021-E42B328B34F0}"/>
              </a:ext>
            </a:extLst>
          </p:cNvPr>
          <p:cNvSpPr txBox="1">
            <a:spLocks/>
          </p:cNvSpPr>
          <p:nvPr userDrawn="1"/>
        </p:nvSpPr>
        <p:spPr>
          <a:xfrm>
            <a:off x="6530345" y="4120384"/>
            <a:ext cx="2168718" cy="7201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1300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300" b="1" dirty="0">
                <a:solidFill>
                  <a:srgbClr val="FFFFFF"/>
                </a:solidFill>
              </a:rPr>
            </a:br>
            <a:r>
              <a:rPr lang="ru-RU" sz="1300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800" b="1" dirty="0">
              <a:solidFill>
                <a:srgbClr val="FFFFFF"/>
              </a:solidFill>
            </a:endParaRPr>
          </a:p>
        </p:txBody>
      </p:sp>
      <p:pic>
        <p:nvPicPr>
          <p:cNvPr id="386073" name="Picture 25">
            <a:extLst>
              <a:ext uri="{FF2B5EF4-FFF2-40B4-BE49-F238E27FC236}">
                <a16:creationId xmlns:a16="http://schemas.microsoft.com/office/drawing/2014/main" xmlns="" id="{E6988F37-F45A-4ECA-83A1-5A8C6B2837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59" t="7906" b="64627"/>
          <a:stretch/>
        </p:blipFill>
        <p:spPr bwMode="auto">
          <a:xfrm>
            <a:off x="7020212" y="3670299"/>
            <a:ext cx="1526060" cy="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214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2" y="6405036"/>
            <a:ext cx="953724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9EBBF60D-F2C0-4019-88BB-7E493A6B9D70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039048">
                <a:lnSpc>
                  <a:spcPct val="90000"/>
                </a:lnSpc>
                <a:spcAft>
                  <a:spcPts val="1126"/>
                </a:spcAft>
              </a:pPr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03651"/>
              <a:ext cx="7283401" cy="45704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1039048">
                <a:lnSpc>
                  <a:spcPct val="90000"/>
                </a:lnSpc>
              </a:pPr>
              <a:r>
                <a:rPr lang="en-US" sz="1100" dirty="0">
                  <a:solidFill>
                    <a:srgbClr val="A6A6A6"/>
                  </a:solidFill>
                </a:rPr>
                <a:t>1. xxxx  2. xxxx  3. List footnotes in numerical order. Footnote numbers are not bracketed. Use 10pt font</a:t>
              </a:r>
            </a:p>
            <a:p>
              <a:pPr defTabSz="1039048">
                <a:lnSpc>
                  <a:spcPct val="90000"/>
                </a:lnSpc>
              </a:pPr>
              <a:r>
                <a:rPr lang="en-US" sz="1100" dirty="0">
                  <a:solidFill>
                    <a:srgbClr val="A6A6A6"/>
                  </a:solidFill>
                </a:rPr>
                <a:t>Note: Do not put a period at the end of the note or the source</a:t>
              </a:r>
            </a:p>
            <a:p>
              <a:pPr defTabSz="1039048">
                <a:lnSpc>
                  <a:spcPct val="90000"/>
                </a:lnSpc>
              </a:pPr>
              <a:r>
                <a:rPr lang="en-US" sz="1100" dirty="0">
                  <a:solidFill>
                    <a:srgbClr val="A6A6A6"/>
                  </a:solidFill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605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331538"/>
              </p:ext>
            </p:ext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E9AD951D-B42C-46D3-B031-78D0E4281D1A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43" y="622805"/>
            <a:ext cx="7982031" cy="318519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4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5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6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7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8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9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0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1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2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3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4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5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6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7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8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9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0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1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2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87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06"/>
            <a:ext cx="7982031" cy="318519"/>
          </a:xfrm>
        </p:spPr>
        <p:txBody>
          <a:bodyPr/>
          <a:lstStyle>
            <a:lvl1pPr>
              <a:defRPr sz="23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6"/>
            <a:ext cx="7982584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872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6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4" y="-1307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2997" tIns="51499" rIns="102997" bIns="5149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A8017E12-F4A3-4044-A9C5-94817A9080BB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41" y="2158999"/>
            <a:ext cx="273009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515036" indent="0" algn="ctr">
              <a:buNone/>
              <a:defRPr sz="2300"/>
            </a:lvl2pPr>
            <a:lvl3pPr marL="1030073" indent="0" algn="ctr">
              <a:buNone/>
              <a:defRPr sz="2000"/>
            </a:lvl3pPr>
            <a:lvl4pPr marL="1545109" indent="0" algn="ctr">
              <a:buNone/>
              <a:defRPr sz="1800"/>
            </a:lvl4pPr>
            <a:lvl5pPr marL="2060145" indent="0" algn="ctr">
              <a:buNone/>
              <a:defRPr sz="1800"/>
            </a:lvl5pPr>
            <a:lvl6pPr marL="2575182" indent="0" algn="ctr">
              <a:buNone/>
              <a:defRPr sz="1800"/>
            </a:lvl6pPr>
            <a:lvl7pPr marL="3090217" indent="0" algn="ctr">
              <a:buNone/>
              <a:defRPr sz="1800"/>
            </a:lvl7pPr>
            <a:lvl8pPr marL="3605254" indent="0" algn="ctr">
              <a:buNone/>
              <a:defRPr sz="1800"/>
            </a:lvl8pPr>
            <a:lvl9pPr marL="4120290" indent="0" algn="ctr">
              <a:buNone/>
              <a:defRPr sz="18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41" y="1227060"/>
            <a:ext cx="2730091" cy="664797"/>
          </a:xfrm>
        </p:spPr>
        <p:txBody>
          <a:bodyPr anchor="t">
            <a:no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5841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E8F4FABA-20E2-4908-A439-4B06E1A5C690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8" y="2668045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02448" tIns="202448" rIns="202448" bIns="101224" anchor="b">
            <a:noAutofit/>
          </a:bodyPr>
          <a:lstStyle>
            <a:lvl1pPr marL="0" algn="l" defTabSz="1030073" rtl="0" eaLnBrk="1" fontAlgn="auto" latinLnBrk="0" hangingPunct="1">
              <a:lnSpc>
                <a:spcPts val="6760"/>
              </a:lnSpc>
              <a:spcBef>
                <a:spcPts val="0"/>
              </a:spcBef>
              <a:spcAft>
                <a:spcPts val="0"/>
              </a:spcAft>
              <a:defRPr lang="en-US" sz="5002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80" y="1457807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260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33915D64-D298-40B2-A1E3-B2E3A41EC279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5002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2" y="3682800"/>
            <a:ext cx="856356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727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8C60A30-1685-41DE-98AE-99F7B4BB5F67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73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36150"/>
              </p:ext>
            </p:ext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8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509C7A3D-B7EC-4D44-8D77-4180AE5962C7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5953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0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6" y="4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4860D5C0-2396-46F9-9A39-FCBEE9DAD7FB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5"/>
            <a:ext cx="4563112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1812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3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720489" y="4"/>
            <a:ext cx="385477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2" y="4"/>
            <a:ext cx="672616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470CE791-2E33-4C19-AF19-05E18B2DBFD7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1" y="622805"/>
            <a:ext cx="5932267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55604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8A61501E-B00F-47B4-A3AB-8E3685F5AADE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0798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50" y="4"/>
            <a:ext cx="4572554" cy="6858000"/>
          </a:xfrm>
          <a:prstGeom prst="rect">
            <a:avLst/>
          </a:prstGeom>
          <a:noFill/>
        </p:spPr>
        <p:txBody>
          <a:bodyPr lIns="674827" tIns="674827" rIns="674827" bIns="674827"/>
          <a:lstStyle>
            <a:lvl1pPr algn="ctr">
              <a:defRPr sz="20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23669BAB-9586-48BC-A76C-76AF5015DE5E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236190" bIns="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1883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452715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5" y="4"/>
            <a:ext cx="331310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2" y="4"/>
            <a:ext cx="3312000" cy="6858000"/>
          </a:xfrm>
          <a:prstGeom prst="rect">
            <a:avLst/>
          </a:prstGeom>
          <a:noFill/>
        </p:spPr>
        <p:txBody>
          <a:bodyPr lIns="134965" tIns="674827" rIns="134965" bIns="674827"/>
          <a:lstStyle>
            <a:lvl1pPr algn="ctr">
              <a:defRPr sz="20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AA17AC35-7C52-4E50-ACCE-4127803CABC7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7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481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2F4880C3-9CC0-486A-AC78-5A996F4FE815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43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</p:spPr>
        <p:txBody>
          <a:bodyPr anchor="ctr" anchorCtr="0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3180DBD8-2422-4C7B-BD3C-A7082FB8EAAE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2184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36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164261B5-CDD0-4153-9E07-224788EA0547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0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937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0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55AC1043-A977-4334-8F9F-10A36264AB10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0325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264497" y="6404404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A60259B-5B38-4120-8AD6-0D438FD9A2E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642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3866EF4F-E0BF-4CD8-912E-6BCF887C999B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42" y="622805"/>
            <a:ext cx="3412754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435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42" y="622805"/>
            <a:ext cx="3412754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B36E7369-0F18-4FF7-8E6B-7712C0C6A627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7909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2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3E1BBB26-B487-46FB-B6E0-672B277CFB27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5"/>
            <a:ext cx="4567615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541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>
              <a:lnSpc>
                <a:spcPct val="90000"/>
              </a:lnSpc>
              <a:spcAft>
                <a:spcPts val="1126"/>
              </a:spcAft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5"/>
            <a:ext cx="4567615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389656"/>
            <a:ext cx="953723" cy="1692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38E82976-D04D-460C-BC18-8E349259A737}" type="datetime1">
              <a:rPr lang="ru-RU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541359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0789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77078056-92F3-45C2-85BF-C4F753D49B93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1030073" rtl="0" eaLnBrk="1" fontAlgn="auto" latinLnBrk="0" hangingPunct="1">
              <a:lnSpc>
                <a:spcPts val="6760"/>
              </a:lnSpc>
              <a:spcBef>
                <a:spcPts val="0"/>
              </a:spcBef>
              <a:spcAft>
                <a:spcPts val="0"/>
              </a:spcAft>
              <a:defRPr lang="en-US" sz="500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2042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9048"/>
            <a:endParaRPr lang="en-US" sz="5002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FDA06ECD-7FA9-453B-B69A-65CD713C88F6}" type="datetime1">
              <a:rPr lang="ru-RU" sz="2000" smtClean="0">
                <a:solidFill>
                  <a:srgbClr val="575757"/>
                </a:solidFill>
              </a:rPr>
              <a:t>12.10.2021</a:t>
            </a:fld>
            <a:endParaRPr lang="en-US" sz="2000" dirty="0">
              <a:solidFill>
                <a:srgbClr val="57575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30073" rtl="0" eaLnBrk="1" fontAlgn="auto" latinLnBrk="0" hangingPunct="1">
              <a:lnSpc>
                <a:spcPts val="6760"/>
              </a:lnSpc>
              <a:spcBef>
                <a:spcPts val="0"/>
              </a:spcBef>
              <a:spcAft>
                <a:spcPts val="0"/>
              </a:spcAft>
              <a:defRPr lang="en-US" sz="5002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2805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0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3166DC1F-7BB2-4CF0-B334-1B28D1A1732F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grpSp>
        <p:nvGrpSpPr>
          <p:cNvPr id="9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039048"/>
              <a:endParaRPr lang="en-US" sz="3100" dirty="0">
                <a:solidFill>
                  <a:srgbClr val="575757"/>
                </a:solidFill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039048"/>
              <a:endParaRPr lang="en-US" sz="3100" dirty="0">
                <a:solidFill>
                  <a:srgbClr val="575757"/>
                </a:solidFill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11" y="1566648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845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3" y="6389020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459C7515-B28A-496E-8BAA-08E0888AA2E0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5"/>
            <a:ext cx="7982031" cy="31851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2267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D1CD3C48-D42E-4077-BBD1-F5E25DE8A86A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1797147"/>
            <a:ext cx="2053661" cy="32637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039048">
              <a:lnSpc>
                <a:spcPct val="106000"/>
              </a:lnSpc>
              <a:spcAft>
                <a:spcPts val="788"/>
              </a:spcAft>
            </a:pPr>
            <a:r>
              <a:rPr lang="en-US" sz="5002" dirty="0">
                <a:solidFill>
                  <a:srgbClr val="374140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524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B3DE4339-42D3-452D-999F-FB75EF78EA7F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81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/>
          </a:blip>
          <a:srcRect l="38295"/>
          <a:stretch>
            <a:fillRect/>
          </a:stretch>
        </p:blipFill>
        <p:spPr>
          <a:xfrm>
            <a:off x="5" y="5"/>
            <a:ext cx="6944351" cy="6857999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H="1">
            <a:off x="3768134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4295" tIns="74295" rIns="74295" bIns="74295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138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26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26C323D7-5C24-4F91-9E69-FF567856D536}" type="datetime1">
              <a:rPr lang="ru-RU" sz="2000" smtClean="0">
                <a:solidFill>
                  <a:srgbClr val="575757"/>
                </a:solidFill>
              </a:rPr>
              <a:t>12.10.2021</a:t>
            </a:fld>
            <a:endParaRPr lang="en-US" sz="2000" dirty="0">
              <a:solidFill>
                <a:srgbClr val="575757"/>
              </a:solidFill>
            </a:endParaRP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8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6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039048"/>
              <a:endParaRPr lang="en-US" sz="1400" dirty="0">
                <a:solidFill>
                  <a:srgbClr val="575757"/>
                </a:solidFill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39048"/>
                <a:endParaRPr lang="en-US" sz="1400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1039048">
                <a:lnSpc>
                  <a:spcPct val="90000"/>
                </a:lnSpc>
                <a:spcAft>
                  <a:spcPts val="1126"/>
                </a:spcAft>
              </a:pPr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03651"/>
              <a:ext cx="7283401" cy="45704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defTabSz="1039048">
                <a:lnSpc>
                  <a:spcPct val="90000"/>
                </a:lnSpc>
              </a:pPr>
              <a:r>
                <a:rPr lang="en-US" sz="1100" dirty="0">
                  <a:solidFill>
                    <a:prstClr val="white">
                      <a:lumMod val="50000"/>
                    </a:prstClr>
                  </a:solidFill>
                </a:rPr>
                <a:t>1. xxxx  2. xxxx  3. List footnotes in numerical order. Footnote numbers are not bracketed. Use 10pt font</a:t>
              </a:r>
            </a:p>
            <a:p>
              <a:pPr defTabSz="1039048">
                <a:lnSpc>
                  <a:spcPct val="90000"/>
                </a:lnSpc>
              </a:pPr>
              <a:r>
                <a:rPr lang="en-US" sz="1100" dirty="0">
                  <a:solidFill>
                    <a:prstClr val="white">
                      <a:lumMod val="50000"/>
                    </a:prstClr>
                  </a:solidFill>
                </a:rPr>
                <a:t>Note: Do not put a period at the end of the note or the source</a:t>
              </a:r>
            </a:p>
            <a:p>
              <a:pPr defTabSz="1039048">
                <a:lnSpc>
                  <a:spcPct val="90000"/>
                </a:lnSpc>
              </a:pPr>
              <a:r>
                <a:rPr lang="en-US" sz="1100" dirty="0">
                  <a:solidFill>
                    <a:prstClr val="white">
                      <a:lumMod val="50000"/>
                    </a:prstClr>
                  </a:solidFill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EDD7802B-3C01-421C-B75A-D629E01B7354}" type="datetime1">
              <a:rPr lang="ru-RU" sz="2000" smtClean="0">
                <a:solidFill>
                  <a:prstClr val="white">
                    <a:lumMod val="50000"/>
                  </a:prstClr>
                </a:solidFill>
              </a:rPr>
              <a:t>12.10.2021</a:t>
            </a:fld>
            <a:endParaRPr lang="en-US" sz="2000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84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301798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389020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632120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650" tIns="20275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581541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05503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lnSpc>
                <a:spcPct val="95000"/>
              </a:lnSpc>
            </a:pPr>
            <a:r>
              <a:rPr lang="en-US" sz="5002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2851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533223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389020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817479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08993" tIns="308993" rIns="308993" bIns="15449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1039048">
              <a:lnSpc>
                <a:spcPts val="6760"/>
              </a:lnSpc>
            </a:pPr>
            <a:endParaRPr lang="en-US" sz="5002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817482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FFFFFF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05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434873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7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389020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580295" y="1206001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580297" y="622805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39048">
              <a:lnSpc>
                <a:spcPct val="90000"/>
              </a:lnSpc>
              <a:spcBef>
                <a:spcPct val="0"/>
              </a:spcBef>
            </a:pPr>
            <a:r>
              <a:rPr lang="en-US" sz="3200" dirty="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4353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674576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7483" tIns="33741" rIns="67483" bIns="33741" rtlCol="0" anchor="t">
            <a:noAutofit/>
          </a:bodyPr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1039048">
              <a:lnSpc>
                <a:spcPct val="90000"/>
              </a:lnSpc>
              <a:spcAft>
                <a:spcPts val="676"/>
              </a:spcAft>
            </a:pPr>
            <a:r>
              <a:rPr lang="en-US" sz="32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5283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089076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632119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575757">
                  <a:lumMod val="100000"/>
                </a:srgbClr>
              </a:solidFill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650" tIns="20275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575757">
                  <a:lumMod val="100000"/>
                </a:srgbClr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581539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05503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lnSpc>
                <a:spcPct val="95000"/>
              </a:lnSpc>
            </a:pPr>
            <a:r>
              <a:rPr lang="en-US" sz="5002" dirty="0">
                <a:solidFill>
                  <a:srgbClr val="0077B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8135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177542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817477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08993" tIns="308993" rIns="308993" bIns="15449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1039048">
              <a:lnSpc>
                <a:spcPts val="6760"/>
              </a:lnSpc>
            </a:pPr>
            <a:endParaRPr lang="en-US" sz="5002" dirty="0">
              <a:solidFill>
                <a:srgbClr val="E0B30D">
                  <a:lumMod val="100000"/>
                </a:srgbClr>
              </a:solidFill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817478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575757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90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6176363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82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580295" y="1205999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580297" y="622801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039048">
              <a:lnSpc>
                <a:spcPct val="90000"/>
              </a:lnSpc>
              <a:spcBef>
                <a:spcPct val="0"/>
              </a:spcBef>
            </a:pPr>
            <a:r>
              <a:rPr lang="en-US" sz="2700" dirty="0">
                <a:solidFill>
                  <a:srgbClr val="0077B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7478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792085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1039048">
              <a:lnSpc>
                <a:spcPct val="90000"/>
              </a:lnSpc>
              <a:spcAft>
                <a:spcPts val="676"/>
              </a:spcAft>
            </a:pPr>
            <a:r>
              <a:rPr lang="en-US" sz="27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71370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2" y="6405033"/>
            <a:ext cx="953724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18CCAD1-C369-40E2-84B0-B608413D6F37}" type="datetime1">
              <a:rPr lang="ru-RU" smtClean="0"/>
              <a:t>12.10.2021</a:t>
            </a:fld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45202"/>
              <a:ext cx="728340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08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595722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rtlCol="0" anchor="t"/>
          <a:lstStyle/>
          <a:p>
            <a:pPr defTabSz="1039048"/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1797147"/>
            <a:ext cx="2053661" cy="326371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1039048">
              <a:lnSpc>
                <a:spcPct val="106000"/>
              </a:lnSpc>
              <a:spcAft>
                <a:spcPts val="788"/>
              </a:spcAft>
            </a:pPr>
            <a:r>
              <a:rPr lang="en-US" sz="5002" dirty="0">
                <a:solidFill>
                  <a:srgbClr val="374140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897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30" y="6405037"/>
            <a:ext cx="953723" cy="153888"/>
          </a:xfrm>
          <a:prstGeom prst="rect">
            <a:avLst/>
          </a:prstGeom>
        </p:spPr>
        <p:txBody>
          <a:bodyPr lIns="67483" tIns="33741" rIns="67483" bIns="33741"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1039048"/>
            <a:fld id="{D1F77880-CE05-4110-AEA3-29A413F47AE9}" type="datetime1">
              <a:rPr lang="ru-RU" sz="2000" smtClean="0">
                <a:solidFill>
                  <a:prstClr val="white"/>
                </a:solidFill>
              </a:rPr>
              <a:t>12.10.202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8E2314CC-194C-48C8-8F07-96077B116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544" y="622809"/>
            <a:ext cx="4567615" cy="3185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86752665"/>
      </p:ext>
    </p:extLst>
  </p:cSld>
  <p:clrMapOvr>
    <a:masterClrMapping/>
  </p:clrMapOvr>
  <p:transition spd="slow">
    <p:push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28D6015-AFD5-AC4F-8CCC-7EEA3C8CC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CAF03E3-E15A-CE47-9AC4-B5B363A407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EEAF97A-D11F-8A4D-9286-2C6F02D68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67483" tIns="33741" rIns="67483" bIns="33741"/>
          <a:lstStyle/>
          <a:p>
            <a:pPr defTabSz="1039048"/>
            <a:fld id="{F40E423A-3221-4B51-ADCF-35F20D54E266}" type="datetime1">
              <a:rPr lang="ru-RU" sz="2000" smtClean="0">
                <a:solidFill>
                  <a:srgbClr val="575757"/>
                </a:solidFill>
              </a:rPr>
              <a:t>12.10.2021</a:t>
            </a:fld>
            <a:endParaRPr lang="ru-RU" sz="2000">
              <a:solidFill>
                <a:srgbClr val="575757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76665752-7AC6-3748-9677-EC219CA2E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67483" tIns="33741" rIns="67483" bIns="33741"/>
          <a:lstStyle/>
          <a:p>
            <a:pPr defTabSz="1039048"/>
            <a:endParaRPr lang="ru-RU" sz="2000">
              <a:solidFill>
                <a:srgbClr val="575757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90AEB40-B9C4-E84D-B961-681B43468B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67483" tIns="33741" rIns="67483" bIns="33741"/>
          <a:lstStyle/>
          <a:p>
            <a:pPr defTabSz="1039048"/>
            <a:fld id="{3BC35E58-C6FF-F240-A61F-455015AE3F01}" type="slidenum">
              <a:rPr lang="ru-RU" sz="2000" smtClean="0">
                <a:solidFill>
                  <a:srgbClr val="575757"/>
                </a:solidFill>
              </a:rPr>
              <a:pPr defTabSz="1039048"/>
              <a:t>‹#›</a:t>
            </a:fld>
            <a:endParaRPr lang="ru-RU" sz="200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40351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4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5" indent="0" algn="ctr">
              <a:buNone/>
              <a:defRPr sz="2000"/>
            </a:lvl2pPr>
            <a:lvl3pPr marL="914430" indent="0" algn="ctr">
              <a:buNone/>
              <a:defRPr sz="1800"/>
            </a:lvl3pPr>
            <a:lvl4pPr marL="1371645" indent="0" algn="ctr">
              <a:buNone/>
              <a:defRPr sz="1600"/>
            </a:lvl4pPr>
            <a:lvl5pPr marL="1828861" indent="0" algn="ctr">
              <a:buNone/>
              <a:defRPr sz="1600"/>
            </a:lvl5pPr>
            <a:lvl6pPr marL="2286075" indent="0" algn="ctr">
              <a:buNone/>
              <a:defRPr sz="1600"/>
            </a:lvl6pPr>
            <a:lvl7pPr marL="2743290" indent="0" algn="ctr">
              <a:buNone/>
              <a:defRPr sz="1600"/>
            </a:lvl7pPr>
            <a:lvl8pPr marL="3200505" indent="0" algn="ctr">
              <a:buNone/>
              <a:defRPr sz="1600"/>
            </a:lvl8pPr>
            <a:lvl9pPr marL="365772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F4159-24F7-4588-A695-726E373CAE60}" type="datetime1">
              <a:rPr lang="ru-RU" smtClean="0"/>
              <a:t>12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3639361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98AA-6909-48F0-BAC8-53EF49316B74}" type="datetime1">
              <a:rPr lang="ru-RU" smtClean="0"/>
              <a:t>12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730342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2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1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3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A3113F-8B8F-4476-9453-4163F8FE61B2}" type="datetime1">
              <a:rPr lang="ru-RU" smtClean="0"/>
              <a:t>12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020901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A4CC8C-E162-41FD-81C7-B9251B8B8D97}" type="datetime1">
              <a:rPr lang="ru-RU" smtClean="0"/>
              <a:t>12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652851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5" indent="0">
              <a:buNone/>
              <a:defRPr sz="2000" b="1"/>
            </a:lvl2pPr>
            <a:lvl3pPr marL="914430" indent="0">
              <a:buNone/>
              <a:defRPr sz="1800" b="1"/>
            </a:lvl3pPr>
            <a:lvl4pPr marL="1371645" indent="0">
              <a:buNone/>
              <a:defRPr sz="1600" b="1"/>
            </a:lvl4pPr>
            <a:lvl5pPr marL="1828861" indent="0">
              <a:buNone/>
              <a:defRPr sz="1600" b="1"/>
            </a:lvl5pPr>
            <a:lvl6pPr marL="2286075" indent="0">
              <a:buNone/>
              <a:defRPr sz="1600" b="1"/>
            </a:lvl6pPr>
            <a:lvl7pPr marL="2743290" indent="0">
              <a:buNone/>
              <a:defRPr sz="1600" b="1"/>
            </a:lvl7pPr>
            <a:lvl8pPr marL="3200505" indent="0">
              <a:buNone/>
              <a:defRPr sz="1600" b="1"/>
            </a:lvl8pPr>
            <a:lvl9pPr marL="365772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5" indent="0">
              <a:buNone/>
              <a:defRPr sz="2000" b="1"/>
            </a:lvl2pPr>
            <a:lvl3pPr marL="914430" indent="0">
              <a:buNone/>
              <a:defRPr sz="1800" b="1"/>
            </a:lvl3pPr>
            <a:lvl4pPr marL="1371645" indent="0">
              <a:buNone/>
              <a:defRPr sz="1600" b="1"/>
            </a:lvl4pPr>
            <a:lvl5pPr marL="1828861" indent="0">
              <a:buNone/>
              <a:defRPr sz="1600" b="1"/>
            </a:lvl5pPr>
            <a:lvl6pPr marL="2286075" indent="0">
              <a:buNone/>
              <a:defRPr sz="1600" b="1"/>
            </a:lvl6pPr>
            <a:lvl7pPr marL="2743290" indent="0">
              <a:buNone/>
              <a:defRPr sz="1600" b="1"/>
            </a:lvl7pPr>
            <a:lvl8pPr marL="3200505" indent="0">
              <a:buNone/>
              <a:defRPr sz="1600" b="1"/>
            </a:lvl8pPr>
            <a:lvl9pPr marL="365772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D6D1-3459-472C-92C7-C26E89AD4847}" type="datetime1">
              <a:rPr lang="ru-RU" smtClean="0"/>
              <a:t>12.10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352150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FE4F5-EF07-409A-AA99-F4BADEB0D3DE}" type="datetime1">
              <a:rPr lang="ru-RU" smtClean="0"/>
              <a:t>12.10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256006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F175-458A-4A16-8466-FDDE2B94AF88}" type="datetime1">
              <a:rPr lang="ru-RU" smtClean="0"/>
              <a:t>12.10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272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8A36796-78CF-4C42-9377-D8887566FB29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43" y="622808"/>
            <a:ext cx="7982031" cy="276999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537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9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5" indent="0">
              <a:buNone/>
              <a:defRPr sz="1400"/>
            </a:lvl2pPr>
            <a:lvl3pPr marL="914430" indent="0">
              <a:buNone/>
              <a:defRPr sz="1200"/>
            </a:lvl3pPr>
            <a:lvl4pPr marL="1371645" indent="0">
              <a:buNone/>
              <a:defRPr sz="1000"/>
            </a:lvl4pPr>
            <a:lvl5pPr marL="1828861" indent="0">
              <a:buNone/>
              <a:defRPr sz="1000"/>
            </a:lvl5pPr>
            <a:lvl6pPr marL="2286075" indent="0">
              <a:buNone/>
              <a:defRPr sz="1000"/>
            </a:lvl6pPr>
            <a:lvl7pPr marL="2743290" indent="0">
              <a:buNone/>
              <a:defRPr sz="1000"/>
            </a:lvl7pPr>
            <a:lvl8pPr marL="3200505" indent="0">
              <a:buNone/>
              <a:defRPr sz="1000"/>
            </a:lvl8pPr>
            <a:lvl9pPr marL="365772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0DFA5-0CC2-4EC6-BD96-E021DAEADBA9}" type="datetime1">
              <a:rPr lang="ru-RU" smtClean="0"/>
              <a:t>12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734285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9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15" indent="0">
              <a:buNone/>
              <a:defRPr sz="2800"/>
            </a:lvl2pPr>
            <a:lvl3pPr marL="914430" indent="0">
              <a:buNone/>
              <a:defRPr sz="2400"/>
            </a:lvl3pPr>
            <a:lvl4pPr marL="1371645" indent="0">
              <a:buNone/>
              <a:defRPr sz="2000"/>
            </a:lvl4pPr>
            <a:lvl5pPr marL="1828861" indent="0">
              <a:buNone/>
              <a:defRPr sz="2000"/>
            </a:lvl5pPr>
            <a:lvl6pPr marL="2286075" indent="0">
              <a:buNone/>
              <a:defRPr sz="2000"/>
            </a:lvl6pPr>
            <a:lvl7pPr marL="2743290" indent="0">
              <a:buNone/>
              <a:defRPr sz="2000"/>
            </a:lvl7pPr>
            <a:lvl8pPr marL="3200505" indent="0">
              <a:buNone/>
              <a:defRPr sz="2000"/>
            </a:lvl8pPr>
            <a:lvl9pPr marL="365772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5" indent="0">
              <a:buNone/>
              <a:defRPr sz="1400"/>
            </a:lvl2pPr>
            <a:lvl3pPr marL="914430" indent="0">
              <a:buNone/>
              <a:defRPr sz="1200"/>
            </a:lvl3pPr>
            <a:lvl4pPr marL="1371645" indent="0">
              <a:buNone/>
              <a:defRPr sz="1000"/>
            </a:lvl4pPr>
            <a:lvl5pPr marL="1828861" indent="0">
              <a:buNone/>
              <a:defRPr sz="1000"/>
            </a:lvl5pPr>
            <a:lvl6pPr marL="2286075" indent="0">
              <a:buNone/>
              <a:defRPr sz="1000"/>
            </a:lvl6pPr>
            <a:lvl7pPr marL="2743290" indent="0">
              <a:buNone/>
              <a:defRPr sz="1000"/>
            </a:lvl7pPr>
            <a:lvl8pPr marL="3200505" indent="0">
              <a:buNone/>
              <a:defRPr sz="1000"/>
            </a:lvl8pPr>
            <a:lvl9pPr marL="365772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925DAB-9D91-4880-BC81-E8342CB46634}" type="datetime1">
              <a:rPr lang="ru-RU" smtClean="0"/>
              <a:t>12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930205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C1E22-1977-4F9A-A00A-06997A7DD38E}" type="datetime1">
              <a:rPr lang="ru-RU" smtClean="0"/>
              <a:t>12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19180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01E6C-7591-4527-B2F1-51CB7323BF3A}" type="datetime1">
              <a:rPr lang="ru-RU" smtClean="0"/>
              <a:t>12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390292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56003" y="510832"/>
            <a:ext cx="8031998" cy="363927"/>
          </a:xfrm>
        </p:spPr>
        <p:txBody>
          <a:bodyPr lIns="0" tIns="0" rIns="0" bIns="0"/>
          <a:lstStyle>
            <a:lvl1pPr>
              <a:defRPr sz="236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29E8A1-3BE3-4CFF-930A-94BDA6F182C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64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89532">
              <a:lnSpc>
                <a:spcPts val="1551"/>
              </a:lnSpc>
            </a:pPr>
            <a:fld id="{81D60167-4931-47E6-BA6A-407CBD079E47}" type="slidenum">
              <a:rPr lang="ru-RU" sz="1341" spc="-152" smtClean="0">
                <a:solidFill>
                  <a:srgbClr val="FFFFFF"/>
                </a:solidFill>
                <a:latin typeface="Arial Narrow"/>
                <a:cs typeface="Arial Narrow"/>
              </a:rPr>
              <a:pPr marL="89532">
                <a:lnSpc>
                  <a:spcPts val="1551"/>
                </a:lnSpc>
              </a:pPr>
              <a:t>‹#›</a:t>
            </a:fld>
            <a:endParaRPr lang="ru-RU" sz="1341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97539993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4" y="1594"/>
          <a:ext cx="1191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7" name="Слайд think-cell" r:id="rId5" imgW="444" imgH="443" progId="TCLayout.ActiveDocument.1">
                  <p:embed/>
                </p:oleObj>
              </mc:Choice>
              <mc:Fallback>
                <p:oleObj name="Слайд think-cell" r:id="rId5" imgW="444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4" y="1594"/>
                        <a:ext cx="1191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3" y="1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319809" y="6521471"/>
            <a:ext cx="7715709" cy="16966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800" b="0" i="0">
                <a:solidFill>
                  <a:srgbClr val="92928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69E31BA9-9ABE-9B44-A924-42ABA1813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9807" y="447742"/>
            <a:ext cx="8548800" cy="351779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2540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Номер слайда 6">
            <a:extLst>
              <a:ext uri="{FF2B5EF4-FFF2-40B4-BE49-F238E27FC236}">
                <a16:creationId xmlns:a16="http://schemas.microsoft.com/office/drawing/2014/main" xmlns="" id="{595680E7-AD36-DB43-8336-AFB50750F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5808" y="6521471"/>
            <a:ext cx="558386" cy="162860"/>
          </a:xfrm>
          <a:prstGeom prst="rect">
            <a:avLst/>
          </a:prstGeom>
        </p:spPr>
        <p:txBody>
          <a:bodyPr/>
          <a:lstStyle>
            <a:lvl1pPr>
              <a:defRPr sz="1058"/>
            </a:lvl1pPr>
          </a:lstStyle>
          <a:p>
            <a:fld id="{F5FFB5A1-13CA-42AA-9B20-81B60DCDD20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447349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4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1" y="2771849"/>
            <a:ext cx="1831016" cy="1314311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16904"/>
            <a:ext cx="285751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7" y="6416976"/>
            <a:ext cx="953723" cy="1419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FCE3590-FD57-4B3B-907C-B5FFCBC63A98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5" y="3402836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272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6" y="4"/>
            <a:ext cx="4819431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3412754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16904"/>
            <a:ext cx="285751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7" y="6416976"/>
            <a:ext cx="953723" cy="1419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0878091-D3C3-4380-B48F-D810922FA169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0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503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4066037"/>
            <a:ext cx="447822" cy="2792095"/>
          </a:xfrm>
          <a:custGeom>
            <a:avLst/>
            <a:gdLst/>
            <a:ahLst/>
            <a:cxnLst/>
            <a:rect l="l" t="t" r="r" b="b"/>
            <a:pathLst>
              <a:path w="485140" h="2792095">
                <a:moveTo>
                  <a:pt x="0" y="0"/>
                </a:moveTo>
                <a:lnTo>
                  <a:pt x="0" y="2791962"/>
                </a:lnTo>
                <a:lnTo>
                  <a:pt x="484660" y="2791962"/>
                </a:lnTo>
                <a:lnTo>
                  <a:pt x="0" y="0"/>
                </a:lnTo>
                <a:close/>
              </a:path>
            </a:pathLst>
          </a:custGeom>
          <a:solidFill>
            <a:srgbClr val="5FCAEE">
              <a:alpha val="70195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084063" y="4110227"/>
            <a:ext cx="4059936" cy="2747772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5130842" y="4181809"/>
            <a:ext cx="4013395" cy="2676525"/>
          </a:xfrm>
          <a:custGeom>
            <a:avLst/>
            <a:gdLst/>
            <a:ahLst/>
            <a:cxnLst/>
            <a:rect l="l" t="t" r="r" b="b"/>
            <a:pathLst>
              <a:path w="4347845" h="2676525">
                <a:moveTo>
                  <a:pt x="0" y="2676189"/>
                </a:moveTo>
                <a:lnTo>
                  <a:pt x="4347588" y="0"/>
                </a:lnTo>
              </a:path>
            </a:pathLst>
          </a:custGeom>
          <a:ln w="9525">
            <a:solidFill>
              <a:srgbClr val="5FCAEE"/>
            </a:solidFill>
          </a:ln>
        </p:spPr>
        <p:txBody>
          <a:bodyPr wrap="square" lIns="0" tIns="0" rIns="0" bIns="0" rtlCol="0"/>
          <a:lstStyle/>
          <a:p>
            <a:endParaRPr sz="1662"/>
          </a:p>
        </p:txBody>
      </p:sp>
      <p:pic>
        <p:nvPicPr>
          <p:cNvPr id="19" name="bg 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967727" y="1"/>
            <a:ext cx="1349092" cy="6857999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7042756" y="0"/>
            <a:ext cx="1219200" cy="6858000"/>
          </a:xfrm>
          <a:custGeom>
            <a:avLst/>
            <a:gdLst/>
            <a:ahLst/>
            <a:cxnLst/>
            <a:rect l="l" t="t" r="r" b="b"/>
            <a:pathLst>
              <a:path w="1320800" h="6858000">
                <a:moveTo>
                  <a:pt x="0" y="0"/>
                </a:moveTo>
                <a:lnTo>
                  <a:pt x="1320800" y="6857999"/>
                </a:lnTo>
              </a:path>
            </a:pathLst>
          </a:custGeom>
          <a:ln w="9525">
            <a:solidFill>
              <a:srgbClr val="5FCAEE"/>
            </a:solidFill>
          </a:ln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1" name="bg object 21"/>
          <p:cNvSpPr/>
          <p:nvPr/>
        </p:nvSpPr>
        <p:spPr>
          <a:xfrm>
            <a:off x="6891880" y="0"/>
            <a:ext cx="2252589" cy="6858000"/>
          </a:xfrm>
          <a:custGeom>
            <a:avLst/>
            <a:gdLst/>
            <a:ahLst/>
            <a:cxnLst/>
            <a:rect l="l" t="t" r="r" b="b"/>
            <a:pathLst>
              <a:path w="2440304" h="6858000">
                <a:moveTo>
                  <a:pt x="2192146" y="0"/>
                </a:moveTo>
                <a:lnTo>
                  <a:pt x="0" y="6857998"/>
                </a:lnTo>
                <a:lnTo>
                  <a:pt x="2439796" y="6857998"/>
                </a:lnTo>
                <a:lnTo>
                  <a:pt x="2439796" y="8206"/>
                </a:lnTo>
                <a:lnTo>
                  <a:pt x="2192146" y="0"/>
                </a:lnTo>
                <a:close/>
              </a:path>
            </a:pathLst>
          </a:custGeom>
          <a:solidFill>
            <a:srgbClr val="5FCAEE">
              <a:alpha val="36077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2" name="bg object 22"/>
          <p:cNvSpPr/>
          <p:nvPr/>
        </p:nvSpPr>
        <p:spPr>
          <a:xfrm>
            <a:off x="7206610" y="0"/>
            <a:ext cx="1937825" cy="6858000"/>
          </a:xfrm>
          <a:custGeom>
            <a:avLst/>
            <a:gdLst/>
            <a:ahLst/>
            <a:cxnLst/>
            <a:rect l="l" t="t" r="r" b="b"/>
            <a:pathLst>
              <a:path w="2099309" h="6858000">
                <a:moveTo>
                  <a:pt x="2098838" y="0"/>
                </a:moveTo>
                <a:lnTo>
                  <a:pt x="0" y="0"/>
                </a:lnTo>
                <a:lnTo>
                  <a:pt x="1300897" y="6857998"/>
                </a:lnTo>
                <a:lnTo>
                  <a:pt x="2098838" y="6857998"/>
                </a:lnTo>
                <a:lnTo>
                  <a:pt x="2098838" y="0"/>
                </a:lnTo>
                <a:close/>
              </a:path>
            </a:pathLst>
          </a:custGeom>
          <a:solidFill>
            <a:srgbClr val="5FCAEE">
              <a:alpha val="19999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3" name="bg object 23"/>
          <p:cNvSpPr/>
          <p:nvPr/>
        </p:nvSpPr>
        <p:spPr>
          <a:xfrm>
            <a:off x="6637840" y="3921208"/>
            <a:ext cx="2506394" cy="2936875"/>
          </a:xfrm>
          <a:custGeom>
            <a:avLst/>
            <a:gdLst/>
            <a:ahLst/>
            <a:cxnLst/>
            <a:rect l="l" t="t" r="r" b="b"/>
            <a:pathLst>
              <a:path w="2715259" h="2936875">
                <a:moveTo>
                  <a:pt x="2715005" y="0"/>
                </a:moveTo>
                <a:lnTo>
                  <a:pt x="0" y="2936790"/>
                </a:lnTo>
                <a:lnTo>
                  <a:pt x="2715005" y="2936790"/>
                </a:lnTo>
                <a:lnTo>
                  <a:pt x="2715005" y="0"/>
                </a:lnTo>
                <a:close/>
              </a:path>
            </a:pathLst>
          </a:custGeom>
          <a:solidFill>
            <a:srgbClr val="17AFE3">
              <a:alpha val="65881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4" name="bg object 24"/>
          <p:cNvSpPr/>
          <p:nvPr/>
        </p:nvSpPr>
        <p:spPr>
          <a:xfrm>
            <a:off x="7012701" y="0"/>
            <a:ext cx="2131842" cy="6858000"/>
          </a:xfrm>
          <a:custGeom>
            <a:avLst/>
            <a:gdLst/>
            <a:ahLst/>
            <a:cxnLst/>
            <a:rect l="l" t="t" r="r" b="b"/>
            <a:pathLst>
              <a:path w="2309495" h="6858000">
                <a:moveTo>
                  <a:pt x="2308907" y="0"/>
                </a:moveTo>
                <a:lnTo>
                  <a:pt x="0" y="0"/>
                </a:lnTo>
                <a:lnTo>
                  <a:pt x="2009059" y="6857998"/>
                </a:lnTo>
                <a:lnTo>
                  <a:pt x="2308907" y="6849806"/>
                </a:lnTo>
                <a:lnTo>
                  <a:pt x="2308907" y="0"/>
                </a:lnTo>
                <a:close/>
              </a:path>
            </a:pathLst>
          </a:custGeom>
          <a:solidFill>
            <a:srgbClr val="17AFE3">
              <a:alpha val="50195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5" name="bg object 25"/>
          <p:cNvSpPr/>
          <p:nvPr/>
        </p:nvSpPr>
        <p:spPr>
          <a:xfrm>
            <a:off x="8295718" y="0"/>
            <a:ext cx="848751" cy="6858000"/>
          </a:xfrm>
          <a:custGeom>
            <a:avLst/>
            <a:gdLst/>
            <a:ahLst/>
            <a:cxnLst/>
            <a:rect l="l" t="t" r="r" b="b"/>
            <a:pathLst>
              <a:path w="919479" h="6858000">
                <a:moveTo>
                  <a:pt x="918971" y="0"/>
                </a:moveTo>
                <a:lnTo>
                  <a:pt x="732515" y="0"/>
                </a:lnTo>
                <a:lnTo>
                  <a:pt x="0" y="6857998"/>
                </a:lnTo>
                <a:lnTo>
                  <a:pt x="918971" y="6857998"/>
                </a:lnTo>
                <a:lnTo>
                  <a:pt x="918971" y="0"/>
                </a:lnTo>
                <a:close/>
              </a:path>
            </a:pathLst>
          </a:custGeom>
          <a:solidFill>
            <a:srgbClr val="2D83C3">
              <a:alpha val="70195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6" name="bg object 26"/>
          <p:cNvSpPr/>
          <p:nvPr/>
        </p:nvSpPr>
        <p:spPr>
          <a:xfrm>
            <a:off x="8095361" y="0"/>
            <a:ext cx="1049215" cy="6858000"/>
          </a:xfrm>
          <a:custGeom>
            <a:avLst/>
            <a:gdLst/>
            <a:ahLst/>
            <a:cxnLst/>
            <a:rect l="l" t="t" r="r" b="b"/>
            <a:pathLst>
              <a:path w="1136650" h="6858000">
                <a:moveTo>
                  <a:pt x="1136025" y="0"/>
                </a:moveTo>
                <a:lnTo>
                  <a:pt x="0" y="0"/>
                </a:lnTo>
                <a:lnTo>
                  <a:pt x="1015502" y="6857998"/>
                </a:lnTo>
                <a:lnTo>
                  <a:pt x="1136025" y="6857998"/>
                </a:lnTo>
                <a:lnTo>
                  <a:pt x="1136025" y="0"/>
                </a:lnTo>
                <a:close/>
              </a:path>
            </a:pathLst>
          </a:custGeom>
          <a:solidFill>
            <a:srgbClr val="226192">
              <a:alpha val="81959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27" name="bg object 27"/>
          <p:cNvSpPr/>
          <p:nvPr/>
        </p:nvSpPr>
        <p:spPr>
          <a:xfrm>
            <a:off x="8068761" y="4918433"/>
            <a:ext cx="1075592" cy="1939925"/>
          </a:xfrm>
          <a:custGeom>
            <a:avLst/>
            <a:gdLst/>
            <a:ahLst/>
            <a:cxnLst/>
            <a:rect l="l" t="t" r="r" b="b"/>
            <a:pathLst>
              <a:path w="1165225" h="1939925">
                <a:moveTo>
                  <a:pt x="1164843" y="0"/>
                </a:moveTo>
                <a:lnTo>
                  <a:pt x="0" y="1939565"/>
                </a:lnTo>
                <a:lnTo>
                  <a:pt x="1164843" y="1934565"/>
                </a:lnTo>
                <a:lnTo>
                  <a:pt x="1164843" y="0"/>
                </a:lnTo>
                <a:close/>
              </a:path>
            </a:pathLst>
          </a:custGeom>
          <a:solidFill>
            <a:srgbClr val="17AFE3">
              <a:alpha val="65881"/>
            </a:srgbClr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pic>
        <p:nvPicPr>
          <p:cNvPr id="28" name="bg object 2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" y="0"/>
            <a:ext cx="9143999" cy="685799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09737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D28D44B-4F21-4AA6-8F07-0F8973A6A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08"/>
            <a:ext cx="7982031" cy="276999"/>
          </a:xfrm>
        </p:spPr>
        <p:txBody>
          <a:bodyPr/>
          <a:lstStyle>
            <a:lvl1pPr>
              <a:defRPr sz="20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6"/>
            <a:ext cx="7982584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265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7648504-9EE9-4917-8732-47ADDE1CE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32459"/>
          </a:xfr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9"/>
            <a:ext cx="7982584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419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C8EBAB8-5ECC-4C80-BB85-427EA75A2D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4" y="-1308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652ACEF-9AE1-4A42-8EF2-C7AEA1894BD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41" y="2158999"/>
            <a:ext cx="273009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457237" indent="0" algn="ctr">
              <a:buNone/>
              <a:defRPr sz="2000"/>
            </a:lvl2pPr>
            <a:lvl3pPr marL="914475" indent="0" algn="ctr">
              <a:buNone/>
              <a:defRPr sz="1800"/>
            </a:lvl3pPr>
            <a:lvl4pPr marL="1371712" indent="0" algn="ctr">
              <a:buNone/>
              <a:defRPr sz="1600"/>
            </a:lvl4pPr>
            <a:lvl5pPr marL="1828949" indent="0" algn="ctr">
              <a:buNone/>
              <a:defRPr sz="1600"/>
            </a:lvl5pPr>
            <a:lvl6pPr marL="2286185" indent="0" algn="ctr">
              <a:buNone/>
              <a:defRPr sz="1600"/>
            </a:lvl6pPr>
            <a:lvl7pPr marL="2743423" indent="0" algn="ctr">
              <a:buNone/>
              <a:defRPr sz="1600"/>
            </a:lvl7pPr>
            <a:lvl8pPr marL="3200660" indent="0" algn="ctr">
              <a:buNone/>
              <a:defRPr sz="1600"/>
            </a:lvl8pPr>
            <a:lvl9pPr marL="3657898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41" y="1227060"/>
            <a:ext cx="2730091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135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C4166E8-D1D2-4F33-9BE3-9609E421B9E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8" y="2668045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75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80" y="1457807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842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BF42C4B-8416-4E8C-A31B-8DBD1BF7B449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2" y="3682800"/>
            <a:ext cx="856356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7359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16DB845-D642-43C7-8535-E3B464D9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8D5AB02-2028-46A7-84A1-6FF5F990B80B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39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C5399BC-ACDA-449D-BB5F-CC277456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5" y="4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6B0EA78-8788-4C88-82CA-6CB667A666BA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8"/>
            <a:ext cx="4563112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14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0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0C77578-97C6-4148-91B9-EF51C7DEE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20489" y="4"/>
            <a:ext cx="385477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2" y="4"/>
            <a:ext cx="672616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3"/>
            <a:ext cx="953723" cy="15389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B777B51-5DBC-41CC-A428-A22DC2A35B2E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0" y="622808"/>
            <a:ext cx="5932267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20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8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039FCBA-40C3-4686-AE46-C59E76343BD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605F884-7C8D-4015-B178-8199282936B5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4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8" y="4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C2F00C6-4311-4A01-ABA2-2B1E5E623B1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2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85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5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5" y="4"/>
            <a:ext cx="331310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2" y="4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2226E9D-461A-4051-91EE-DBE6A9A072D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42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71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DD86A1-0D80-4D5D-9955-947D5C604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CA27B98-A245-488C-8ED1-3A1E69051F7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15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D607360-2403-48CB-B422-C21281360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3" y="7"/>
            <a:ext cx="355261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00D262CC-1A6F-4FB8-A9EE-A28ED76E8D0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41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83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771849"/>
            <a:ext cx="1831016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D6F077B-0771-432B-B550-ED1E88D37303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0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7E35D50-D996-444A-8FD0-7DBE027B6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2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C0160A3-41FC-45F0-A472-BAF71556E91C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27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2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1785600"/>
            <a:ext cx="296750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D9BB9A8-A704-4A00-BD0E-5AD5BB5B2D32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03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2BE032E-D61C-4FD9-AE33-2E621D53D7D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8"/>
            <a:ext cx="3412754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0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8"/>
            <a:ext cx="3412754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2528F92-19CA-4677-880D-75A07E5D1BF8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61997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75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0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123D111-C99F-4588-B064-E7EA6024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62970F4-2481-4843-BAF1-444931A78DB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8"/>
            <a:ext cx="4567615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07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8"/>
            <a:ext cx="4567615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83E50A07-8C33-4A7C-8F69-9B47138BCE94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41358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21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8579180-1873-4EA5-B97F-E27B9C2FDDB6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914475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889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4C4DA86-0B4D-473B-A8D5-F01B0F7DF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CA39028C-6A0E-44C1-AD3A-69145CC9E86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75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2805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64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650C6BF-E47E-4A1A-A44F-CD3EA4A53A08}" type="datetime1">
              <a:rPr lang="ru-RU" smtClean="0"/>
              <a:t>12.10.2021</a:t>
            </a:fld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11" y="1566650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19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3CBF6FF-ECD7-4478-8C51-050A49C01BD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8" y="2668045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75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82" y="1457807"/>
            <a:ext cx="862607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0FA1F76-908C-4024-8D26-CD8F7A8BFB50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7" y="6404404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D588BD6B-7869-49E5-AE8F-4001ADFC5FEF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8"/>
            <a:ext cx="7982031" cy="276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96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203C079-C5F7-4EAA-A100-AC12F56A87F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2352364"/>
            <a:ext cx="2053661" cy="215328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94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F62FC62-7974-4277-9D77-9E62C2D0BF54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99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BB1331DD-B009-4255-998C-B7AA23E5D87B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527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45202"/>
              <a:ext cx="728340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0E57853-E21B-4CBF-AB1B-9109822A7195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58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234429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4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7" y="6404404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632120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581541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86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052901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7" y="6404404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817479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817482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01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097585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7" y="6404404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580295" y="1206001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580293" y="622801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75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195792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8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75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4112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4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632119" y="4552784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2568608" y="4552782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581539" y="914405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0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0548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4C43966-603A-43A0-9271-8DDE7A12D42B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42" y="3680016"/>
            <a:ext cx="8562461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37EECB-1C76-4EE2-B703-494B2C479509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66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7427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817477" y="2668045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0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817478" y="1457807"/>
            <a:ext cx="846606" cy="9180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68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959327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580295" y="1205999"/>
            <a:ext cx="856370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580293" y="622801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5002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64150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81" y="-1308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40" y="2682004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ru-RU" sz="2400" dirty="0">
                <a:solidFill>
                  <a:schemeClr val="bg1"/>
                </a:solidFill>
              </a:rPr>
              <a:t>Приложения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5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688568"/>
              </p:ext>
            </p:ext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91" y="2352364"/>
            <a:ext cx="2053661" cy="215328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0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4A5FEB0-0937-4443-9D88-8E59F9EB80D3}"/>
              </a:ext>
            </a:extLst>
          </p:cNvPr>
          <p:cNvSpPr/>
          <p:nvPr userDrawn="1"/>
        </p:nvSpPr>
        <p:spPr>
          <a:xfrm>
            <a:off x="3948984" y="89259"/>
            <a:ext cx="1247137" cy="15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17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13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B8F3CEA-B622-4CEE-B1CE-3916DECC9EF7}"/>
              </a:ext>
            </a:extLst>
          </p:cNvPr>
          <p:cNvSpPr/>
          <p:nvPr userDrawn="1"/>
        </p:nvSpPr>
        <p:spPr>
          <a:xfrm>
            <a:off x="1" y="4"/>
            <a:ext cx="9144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2C6C4F34-2E5C-4F88-82D1-D5EBA8C9EC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63"/>
          <a:stretch>
            <a:fillRect/>
          </a:stretch>
        </p:blipFill>
        <p:spPr>
          <a:xfrm>
            <a:off x="2948432" y="4"/>
            <a:ext cx="6195573" cy="6857989"/>
          </a:xfrm>
          <a:custGeom>
            <a:avLst/>
            <a:gdLst>
              <a:gd name="connsiteX0" fmla="*/ 2097992 w 10244207"/>
              <a:gd name="connsiteY0" fmla="*/ 0 h 10691796"/>
              <a:gd name="connsiteX1" fmla="*/ 10244207 w 10244207"/>
              <a:gd name="connsiteY1" fmla="*/ 0 h 10691796"/>
              <a:gd name="connsiteX2" fmla="*/ 10244207 w 10244207"/>
              <a:gd name="connsiteY2" fmla="*/ 10691796 h 10691796"/>
              <a:gd name="connsiteX3" fmla="*/ 1827803 w 10244207"/>
              <a:gd name="connsiteY3" fmla="*/ 10691796 h 10691796"/>
              <a:gd name="connsiteX4" fmla="*/ 1644651 w 10244207"/>
              <a:gd name="connsiteY4" fmla="*/ 10458733 h 10691796"/>
              <a:gd name="connsiteX5" fmla="*/ 0 w 10244207"/>
              <a:gd name="connsiteY5" fmla="*/ 5505553 h 10691796"/>
              <a:gd name="connsiteX6" fmla="*/ 1890414 w 10244207"/>
              <a:gd name="connsiteY6" fmla="*/ 239636 h 1069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6">
                <a:moveTo>
                  <a:pt x="2097992" y="0"/>
                </a:moveTo>
                <a:lnTo>
                  <a:pt x="10244207" y="0"/>
                </a:lnTo>
                <a:lnTo>
                  <a:pt x="10244207" y="10691796"/>
                </a:lnTo>
                <a:lnTo>
                  <a:pt x="1827803" y="10691796"/>
                </a:lnTo>
                <a:lnTo>
                  <a:pt x="1644651" y="10458733"/>
                </a:lnTo>
                <a:cubicBezTo>
                  <a:pt x="611705" y="9077520"/>
                  <a:pt x="0" y="7362973"/>
                  <a:pt x="0" y="5505553"/>
                </a:cubicBezTo>
                <a:cubicBezTo>
                  <a:pt x="0" y="3505256"/>
                  <a:pt x="709433" y="1670655"/>
                  <a:pt x="1890414" y="239636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xmlns="" id="{A4B8A7A7-BAE6-4F9E-A1F1-D3826D22B7E2}"/>
              </a:ext>
            </a:extLst>
          </p:cNvPr>
          <p:cNvSpPr/>
          <p:nvPr userDrawn="1"/>
        </p:nvSpPr>
        <p:spPr>
          <a:xfrm>
            <a:off x="1" y="4"/>
            <a:ext cx="514942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72"/>
            <a:ext cx="3859133" cy="298275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810" indent="0" algn="ctr">
              <a:buNone/>
              <a:defRPr/>
            </a:lvl4pPr>
            <a:lvl5pPr marL="44762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409287"/>
            <a:ext cx="3859132" cy="44847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134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193812" name="Picture 276" descr="Заказ выписок ЕГРН из Росреестра.">
            <a:extLst>
              <a:ext uri="{FF2B5EF4-FFF2-40B4-BE49-F238E27FC236}">
                <a16:creationId xmlns:a16="http://schemas.microsoft.com/office/drawing/2014/main" xmlns="" id="{48EA4FD4-1A07-40DB-A91B-E8E0786871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984" y="621645"/>
            <a:ext cx="586501" cy="94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28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8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13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48773" y="4"/>
            <a:ext cx="6695228" cy="6857989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4F1022C-A41F-4F64-A704-343E6666F2DE}"/>
              </a:ext>
            </a:extLst>
          </p:cNvPr>
          <p:cNvSpPr/>
          <p:nvPr userDrawn="1"/>
        </p:nvSpPr>
        <p:spPr>
          <a:xfrm>
            <a:off x="3021762" y="4"/>
            <a:ext cx="6122238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519" tIns="44760" rIns="89519" bIns="447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75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V="1">
            <a:off x="2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734" tIns="72734" rIns="72734" bIns="72734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115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9528D4DA-5E9B-430B-A0DA-C5897F60E0DC}"/>
              </a:ext>
            </a:extLst>
          </p:cNvPr>
          <p:cNvCxnSpPr/>
          <p:nvPr userDrawn="1"/>
        </p:nvCxnSpPr>
        <p:spPr>
          <a:xfrm>
            <a:off x="580986" y="5138357"/>
            <a:ext cx="1354016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580986" y="5418972"/>
            <a:ext cx="3859133" cy="298275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810" indent="0" algn="ctr">
              <a:buNone/>
              <a:defRPr/>
            </a:lvl4pPr>
            <a:lvl5pPr marL="44762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580983" y="4409287"/>
            <a:ext cx="3859132" cy="44847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134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95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4BD2686C-F4F7-4B49-9FA7-547747A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3DA66EC0-AD14-4B0A-9B64-B55EACFF977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25428"/>
          </a:xfr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383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07648504-9EE9-4917-8732-47ADDE1CE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25428"/>
          </a:xfr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9"/>
            <a:ext cx="7982584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362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D607360-2403-48CB-B422-C21281360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41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6" y="7"/>
            <a:ext cx="355261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519" tIns="44760" rIns="89519" bIns="44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fld id="{CF6FE452-BB0D-4077-82BF-A3502B53CBD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41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85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1FCA95F-5B87-4BD9-A8DD-C4EF6DA9D8B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8" y="2668045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9" y="1457807"/>
            <a:ext cx="8466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399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1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7BC28CD-572D-4B97-8F25-4F378EA4EF7B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2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BC024B1-C96D-4449-A7E6-98CB1CD4BB1F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47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67584B0-304A-4586-A363-C8777817BFA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430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42" y="3680016"/>
            <a:ext cx="8562461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7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891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741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4199E29-2755-49FC-A7F3-CF54FE43C3E1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42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0433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89F0D-C9AE-4DB8-AC61-09A2F9CD6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6" y="4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B0C8C0C-E833-46EB-BFDE-151D0FFF0E3F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25428"/>
          </a:xfrm>
          <a:prstGeom prst="rect">
            <a:avLst/>
          </a:prstGeo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2072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7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9CAFF24F-EFF2-4D0D-8941-CE3C8AB375BD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05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194428" y="4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4"/>
            <a:ext cx="4572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50" y="4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C205A270-406E-424C-9064-52136FD81B6B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42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13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592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D654D1C-C99D-423A-A91A-875BAA85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41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A21859D-9471-4BD8-8821-D45F46ECE39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43" y="2680204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237" y="3590403"/>
            <a:ext cx="1260231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958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5" y="1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43" y="2680203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6CEB0131-FF99-4F8C-AEAB-E4293AC84F37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334756" y="3402839"/>
            <a:ext cx="248738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59689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7E1E3A5-2541-4EE2-B1CD-3FA262A75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3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8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24A4C00-F7CF-4C35-946E-A1E45E368922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1059" y="3394402"/>
            <a:ext cx="119868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3674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4" y="4"/>
            <a:ext cx="4118268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3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8901BB0-B0DC-4E5C-9AD3-06E62589E1CC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10404" y="3416300"/>
            <a:ext cx="248738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5094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2FA6E58-42C2-4A8B-A308-104370CC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464396E-ED78-4C34-959A-CB2F7ADF534C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11"/>
            <a:ext cx="3412754" cy="3254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7487" y="3589610"/>
            <a:ext cx="1260231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673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C789F0D-C9AE-4DB8-AC61-09A2F9CD6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5" y="4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1D43B847-2560-4947-A595-90BD2845028B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32459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52A120B-0115-4EB1-BACF-E30BD59B2A6E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42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8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37AE0A9-967E-4DE8-9322-59BBA197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4"/>
            <a:ext cx="4819433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11"/>
            <a:ext cx="3412754" cy="3254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35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666771E-B36C-47D9-B160-168B4C3C967F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3061993" y="3407814"/>
            <a:ext cx="248738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3266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78B4846-5D34-40B4-A5DC-B6A52EE4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23739AB4-9C10-4512-8AC0-FE1E270B91C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25428"/>
          </a:xfrm>
        </p:spPr>
        <p:txBody>
          <a:bodyPr/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68" y="3589610"/>
            <a:ext cx="1260231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69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BA8F6F6A-A66E-4A7D-B36D-992137A4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1" y="4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4567615" cy="325428"/>
          </a:xfrm>
        </p:spPr>
        <p:txBody>
          <a:bodyPr/>
          <a:lstStyle>
            <a:lvl1pPr>
              <a:defRPr sz="235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8245"/>
            <a:ext cx="953723" cy="150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B74256C-82A1-4096-B093-2EF76E10DF5D}" type="datetime1">
              <a:rPr lang="ru-RU" smtClean="0"/>
              <a:t>12.10.2021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541359" y="3407814"/>
            <a:ext cx="248738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5718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A5AA545-5615-4DBD-A7FB-57684EB500D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44238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F3D2C4E-5C0D-41F0-B61A-EC084746F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0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E9FE0B76-8025-4301-A0DB-AF30E5B4424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42" y="625479"/>
            <a:ext cx="847124" cy="918000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03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4" y="11"/>
            <a:ext cx="9143999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712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3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5157011" y="1566648"/>
            <a:ext cx="769257" cy="7204727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422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5869E05E-F5C3-4EFB-97F7-778343B7F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8264493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8FAD918-9E08-4FA5-9364-123A70EEF3D4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325428"/>
          </a:xfrm>
        </p:spPr>
        <p:txBody>
          <a:bodyPr/>
          <a:lstStyle>
            <a:lvl1pPr>
              <a:defRPr sz="235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867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9B489D0-A251-4764-9171-A22C53AC91A2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474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503012" y="6407610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F1E789A5-FA7C-467E-8089-243B460A319C}" type="datetime1">
              <a:rPr lang="ru-RU" smtClean="0"/>
              <a:t>12.10.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76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" y="5"/>
            <a:ext cx="6944351" cy="6857999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:a16="http://schemas.microsoft.com/office/drawing/2014/main" xmlns="" id="{04AA2C2B-E2E3-4DBA-8327-F6BEE1554F6A}"/>
              </a:ext>
            </a:extLst>
          </p:cNvPr>
          <p:cNvSpPr/>
          <p:nvPr userDrawn="1"/>
        </p:nvSpPr>
        <p:spPr>
          <a:xfrm flipH="1">
            <a:off x="3768134" y="4"/>
            <a:ext cx="5375868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734" tIns="72734" rIns="72734" bIns="72734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115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7" name="Рисунок 90">
            <a:extLst>
              <a:ext uri="{FF2B5EF4-FFF2-40B4-BE49-F238E27FC236}">
                <a16:creationId xmlns:a16="http://schemas.microsoft.com/office/drawing/2014/main" xmlns="" id="{4078F789-193A-452C-A23D-73B351F62D6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/>
          <a:stretch>
            <a:fillRect/>
          </a:stretch>
        </p:blipFill>
        <p:spPr>
          <a:xfrm>
            <a:off x="5614574" y="2483172"/>
            <a:ext cx="2972159" cy="1281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4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4" y="4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81" y="-1308"/>
            <a:ext cx="6041723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3FD8749-313F-4909-AB7B-E1DA6417511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FE101B3-C26C-4B8C-BF25-0E104DEE5D49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97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0" y="1599"/>
          <a:ext cx="146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9"/>
                        <a:ext cx="146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82F3149-8CEE-4A6B-AF61-491C73DD7289}"/>
              </a:ext>
            </a:extLst>
          </p:cNvPr>
          <p:cNvSpPr/>
          <p:nvPr userDrawn="1"/>
        </p:nvSpPr>
        <p:spPr>
          <a:xfrm flipH="1">
            <a:off x="1" y="4"/>
            <a:ext cx="9144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blue&#10;&#10;Description automatically generated">
            <a:extLst>
              <a:ext uri="{FF2B5EF4-FFF2-40B4-BE49-F238E27FC236}">
                <a16:creationId xmlns:a16="http://schemas.microsoft.com/office/drawing/2014/main" xmlns="" id="{D21B950A-313B-4598-856E-DAA979C1C5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783"/>
          <a:stretch>
            <a:fillRect/>
          </a:stretch>
        </p:blipFill>
        <p:spPr>
          <a:xfrm>
            <a:off x="2" y="1"/>
            <a:ext cx="6195573" cy="6857988"/>
          </a:xfrm>
          <a:custGeom>
            <a:avLst/>
            <a:gdLst>
              <a:gd name="connsiteX0" fmla="*/ 0 w 10244207"/>
              <a:gd name="connsiteY0" fmla="*/ 0 h 10691794"/>
              <a:gd name="connsiteX1" fmla="*/ 8146217 w 10244207"/>
              <a:gd name="connsiteY1" fmla="*/ 0 h 10691794"/>
              <a:gd name="connsiteX2" fmla="*/ 8353793 w 10244207"/>
              <a:gd name="connsiteY2" fmla="*/ 239634 h 10691794"/>
              <a:gd name="connsiteX3" fmla="*/ 10244207 w 10244207"/>
              <a:gd name="connsiteY3" fmla="*/ 5505551 h 10691794"/>
              <a:gd name="connsiteX4" fmla="*/ 8599556 w 10244207"/>
              <a:gd name="connsiteY4" fmla="*/ 10458731 h 10691794"/>
              <a:gd name="connsiteX5" fmla="*/ 8416404 w 10244207"/>
              <a:gd name="connsiteY5" fmla="*/ 10691794 h 10691794"/>
              <a:gd name="connsiteX6" fmla="*/ 0 w 10244207"/>
              <a:gd name="connsiteY6" fmla="*/ 10691794 h 1069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4">
                <a:moveTo>
                  <a:pt x="0" y="0"/>
                </a:moveTo>
                <a:lnTo>
                  <a:pt x="8146217" y="0"/>
                </a:lnTo>
                <a:lnTo>
                  <a:pt x="8353793" y="239634"/>
                </a:lnTo>
                <a:cubicBezTo>
                  <a:pt x="9534774" y="1670653"/>
                  <a:pt x="10244207" y="3505254"/>
                  <a:pt x="10244207" y="5505551"/>
                </a:cubicBezTo>
                <a:cubicBezTo>
                  <a:pt x="10244207" y="7362971"/>
                  <a:pt x="9632502" y="9077518"/>
                  <a:pt x="8599556" y="10458731"/>
                </a:cubicBezTo>
                <a:lnTo>
                  <a:pt x="8416404" y="10691794"/>
                </a:lnTo>
                <a:lnTo>
                  <a:pt x="0" y="10691794"/>
                </a:lnTo>
                <a:close/>
              </a:path>
            </a:pathLst>
          </a:cu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73AB9980-E2C5-4E1C-A71F-816D84D50AAF}"/>
              </a:ext>
            </a:extLst>
          </p:cNvPr>
          <p:cNvSpPr/>
          <p:nvPr userDrawn="1"/>
        </p:nvSpPr>
        <p:spPr>
          <a:xfrm flipH="1">
            <a:off x="3994573" y="4"/>
            <a:ext cx="514942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8652" tIns="29326" rIns="58652" bIns="293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12" name="Picture 276" descr="Заказ выписок ЕГРН из Росреестра.">
            <a:extLst>
              <a:ext uri="{FF2B5EF4-FFF2-40B4-BE49-F238E27FC236}">
                <a16:creationId xmlns:a16="http://schemas.microsoft.com/office/drawing/2014/main" xmlns="" id="{864ABD1C-5043-43C9-B317-81E9FEFF87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671" y="2958331"/>
            <a:ext cx="586501" cy="94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xmlns="" id="{DBEBBFD1-3577-49A7-A021-E42B328B34F0}"/>
              </a:ext>
            </a:extLst>
          </p:cNvPr>
          <p:cNvSpPr txBox="1">
            <a:spLocks/>
          </p:cNvSpPr>
          <p:nvPr userDrawn="1"/>
        </p:nvSpPr>
        <p:spPr>
          <a:xfrm>
            <a:off x="6530345" y="4120384"/>
            <a:ext cx="2168718" cy="6399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1155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155" b="1" dirty="0">
                <a:solidFill>
                  <a:srgbClr val="FFFFFF"/>
                </a:solidFill>
              </a:rPr>
            </a:br>
            <a:r>
              <a:rPr lang="ru-RU" sz="1155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673" b="1" dirty="0">
              <a:solidFill>
                <a:srgbClr val="FFFFFF"/>
              </a:solidFill>
            </a:endParaRPr>
          </a:p>
        </p:txBody>
      </p:sp>
      <p:pic>
        <p:nvPicPr>
          <p:cNvPr id="386073" name="Picture 25">
            <a:extLst>
              <a:ext uri="{FF2B5EF4-FFF2-40B4-BE49-F238E27FC236}">
                <a16:creationId xmlns:a16="http://schemas.microsoft.com/office/drawing/2014/main" xmlns="" id="{E6988F37-F45A-4ECA-83A1-5A8C6B2837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59" t="7906" b="64627"/>
          <a:stretch/>
        </p:blipFill>
        <p:spPr bwMode="auto">
          <a:xfrm>
            <a:off x="7020212" y="3670299"/>
            <a:ext cx="1526060" cy="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66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2" y="6405036"/>
            <a:ext cx="953724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7D37D394-75DF-4980-94FC-C9A2228DAA3E}" type="datetime1">
              <a:rPr lang="ru-RU" smtClean="0"/>
              <a:t>12.10.2021</a:t>
            </a:fld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1" y="4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75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75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79"/>
                </a:spcAft>
              </a:pPr>
              <a:endParaRPr lang="en-US" sz="117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53856"/>
              <a:ext cx="7283401" cy="406843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518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95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38E865A-5B14-4D1A-89F5-E837EE1B1477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7982031" cy="271120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4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5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6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7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8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29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0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1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2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3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4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5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6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7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8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39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0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1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  <p:pic>
        <p:nvPicPr>
          <p:cNvPr id="42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61" cy="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84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D28D44B-4F21-4AA6-8F07-0F8973A6A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5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43" y="622811"/>
            <a:ext cx="7982031" cy="271120"/>
          </a:xfrm>
        </p:spPr>
        <p:txBody>
          <a:bodyPr/>
          <a:lstStyle>
            <a:lvl1pPr>
              <a:defRPr sz="1958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0986" y="2085636"/>
            <a:ext cx="7982584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746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C8EBAB8-5ECC-4C80-BB85-427EA75A2D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4" y="-1307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519" tIns="44760" rIns="89519" bIns="447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79"/>
              </a:spcAft>
            </a:pPr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FCDE608-BEBE-4B48-B165-519CE438E8DF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41" y="2158999"/>
            <a:ext cx="2730091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66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447620" indent="0" algn="ctr">
              <a:buNone/>
              <a:defRPr sz="1958"/>
            </a:lvl2pPr>
            <a:lvl3pPr marL="895242" indent="0" algn="ctr">
              <a:buNone/>
              <a:defRPr sz="1762"/>
            </a:lvl3pPr>
            <a:lvl4pPr marL="1342863" indent="0" algn="ctr">
              <a:buNone/>
              <a:defRPr sz="1566"/>
            </a:lvl4pPr>
            <a:lvl5pPr marL="1790484" indent="0" algn="ctr">
              <a:buNone/>
              <a:defRPr sz="1566"/>
            </a:lvl5pPr>
            <a:lvl6pPr marL="2238106" indent="0" algn="ctr">
              <a:buNone/>
              <a:defRPr sz="1566"/>
            </a:lvl6pPr>
            <a:lvl7pPr marL="2685726" indent="0" algn="ctr">
              <a:buNone/>
              <a:defRPr sz="1566"/>
            </a:lvl7pPr>
            <a:lvl8pPr marL="3133347" indent="0" algn="ctr">
              <a:buNone/>
              <a:defRPr sz="1566"/>
            </a:lvl8pPr>
            <a:lvl9pPr marL="3580967" indent="0" algn="ctr">
              <a:buNone/>
              <a:defRPr sz="1566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41" y="1227060"/>
            <a:ext cx="2730091" cy="664797"/>
          </a:xfrm>
        </p:spPr>
        <p:txBody>
          <a:bodyPr anchor="t">
            <a:no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303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F5A9865-516D-4C71-A8AF-788439B6C708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8" y="2668045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95242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80" y="1457807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90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5E1B2F5A-7FD3-49C0-BFFC-AC3697D485C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43" y="3826804"/>
            <a:ext cx="7982031" cy="2041200"/>
          </a:xfrm>
        </p:spPr>
        <p:txBody>
          <a:bodyPr anchor="t">
            <a:noAutofit/>
          </a:bodyPr>
          <a:lstStyle>
            <a:lvl1pPr>
              <a:defRPr sz="4308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42" y="3682800"/>
            <a:ext cx="856356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9347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216DB845-D642-43C7-8535-E3B464D9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088667" y="4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4"/>
            <a:ext cx="309954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382ACA0C-EFAF-4BC8-B528-EF4F66497B4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40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5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178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1C5399BC-ACDA-449D-BB5F-CC277456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358996" y="4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4"/>
            <a:ext cx="536467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B12999E6-E730-4FE2-B059-BA29FBFD09C6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43" y="622803"/>
            <a:ext cx="4563112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488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0C77578-97C6-4148-91B9-EF51C7DEE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5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6720489" y="4"/>
            <a:ext cx="385477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2" y="4"/>
            <a:ext cx="6726164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75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8" y="6405036"/>
            <a:ext cx="95372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47EF7ED-C8AB-4933-B05B-A56B7EC1AAD0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41" y="622803"/>
            <a:ext cx="5932267" cy="271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3766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105.xml"/><Relationship Id="rId47" Type="http://schemas.openxmlformats.org/officeDocument/2006/relationships/slideLayout" Target="../slideLayouts/slideLayout110.xml"/><Relationship Id="rId63" Type="http://schemas.openxmlformats.org/officeDocument/2006/relationships/slideLayout" Target="../slideLayouts/slideLayout126.xml"/><Relationship Id="rId68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slideLayout" Target="../slideLayouts/slideLayout100.xml"/><Relationship Id="rId40" Type="http://schemas.openxmlformats.org/officeDocument/2006/relationships/slideLayout" Target="../slideLayouts/slideLayout103.xml"/><Relationship Id="rId45" Type="http://schemas.openxmlformats.org/officeDocument/2006/relationships/slideLayout" Target="../slideLayouts/slideLayout108.xml"/><Relationship Id="rId53" Type="http://schemas.openxmlformats.org/officeDocument/2006/relationships/slideLayout" Target="../slideLayouts/slideLayout116.xml"/><Relationship Id="rId58" Type="http://schemas.openxmlformats.org/officeDocument/2006/relationships/slideLayout" Target="../slideLayouts/slideLayout121.xml"/><Relationship Id="rId66" Type="http://schemas.openxmlformats.org/officeDocument/2006/relationships/slideLayout" Target="../slideLayouts/slideLayout129.xml"/><Relationship Id="rId74" Type="http://schemas.openxmlformats.org/officeDocument/2006/relationships/tags" Target="../tags/tag77.xml"/><Relationship Id="rId5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8.xml"/><Relationship Id="rId43" Type="http://schemas.openxmlformats.org/officeDocument/2006/relationships/slideLayout" Target="../slideLayouts/slideLayout106.xml"/><Relationship Id="rId48" Type="http://schemas.openxmlformats.org/officeDocument/2006/relationships/slideLayout" Target="../slideLayouts/slideLayout111.xml"/><Relationship Id="rId56" Type="http://schemas.openxmlformats.org/officeDocument/2006/relationships/slideLayout" Target="../slideLayouts/slideLayout119.xml"/><Relationship Id="rId64" Type="http://schemas.openxmlformats.org/officeDocument/2006/relationships/slideLayout" Target="../slideLayouts/slideLayout127.xml"/><Relationship Id="rId69" Type="http://schemas.openxmlformats.org/officeDocument/2006/relationships/slideLayout" Target="../slideLayouts/slideLayout132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71.xml"/><Relationship Id="rId51" Type="http://schemas.openxmlformats.org/officeDocument/2006/relationships/slideLayout" Target="../slideLayouts/slideLayout114.xml"/><Relationship Id="rId72" Type="http://schemas.openxmlformats.org/officeDocument/2006/relationships/theme" Target="../theme/theme2.xml"/><Relationship Id="rId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38" Type="http://schemas.openxmlformats.org/officeDocument/2006/relationships/slideLayout" Target="../slideLayouts/slideLayout101.xml"/><Relationship Id="rId46" Type="http://schemas.openxmlformats.org/officeDocument/2006/relationships/slideLayout" Target="../slideLayouts/slideLayout109.xml"/><Relationship Id="rId59" Type="http://schemas.openxmlformats.org/officeDocument/2006/relationships/slideLayout" Target="../slideLayouts/slideLayout122.xml"/><Relationship Id="rId67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104.xml"/><Relationship Id="rId54" Type="http://schemas.openxmlformats.org/officeDocument/2006/relationships/slideLayout" Target="../slideLayouts/slideLayout117.xml"/><Relationship Id="rId62" Type="http://schemas.openxmlformats.org/officeDocument/2006/relationships/slideLayout" Target="../slideLayouts/slideLayout125.xml"/><Relationship Id="rId70" Type="http://schemas.openxmlformats.org/officeDocument/2006/relationships/slideLayout" Target="../slideLayouts/slideLayout133.xml"/><Relationship Id="rId75" Type="http://schemas.openxmlformats.org/officeDocument/2006/relationships/tags" Target="../tags/tag78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9.xml"/><Relationship Id="rId49" Type="http://schemas.openxmlformats.org/officeDocument/2006/relationships/slideLayout" Target="../slideLayouts/slideLayout112.xml"/><Relationship Id="rId57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94.xml"/><Relationship Id="rId44" Type="http://schemas.openxmlformats.org/officeDocument/2006/relationships/slideLayout" Target="../slideLayouts/slideLayout107.xml"/><Relationship Id="rId52" Type="http://schemas.openxmlformats.org/officeDocument/2006/relationships/slideLayout" Target="../slideLayouts/slideLayout115.xml"/><Relationship Id="rId60" Type="http://schemas.openxmlformats.org/officeDocument/2006/relationships/slideLayout" Target="../slideLayouts/slideLayout123.xml"/><Relationship Id="rId65" Type="http://schemas.openxmlformats.org/officeDocument/2006/relationships/slideLayout" Target="../slideLayouts/slideLayout128.xml"/><Relationship Id="rId73" Type="http://schemas.openxmlformats.org/officeDocument/2006/relationships/vmlDrawing" Target="../drawings/vmlDrawing37.v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102.xml"/><Relationship Id="rId34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13.xml"/><Relationship Id="rId55" Type="http://schemas.openxmlformats.org/officeDocument/2006/relationships/slideLayout" Target="../slideLayouts/slideLayout118.xml"/><Relationship Id="rId76" Type="http://schemas.openxmlformats.org/officeDocument/2006/relationships/oleObject" Target="../embeddings/oleObject37.bin"/><Relationship Id="rId7" Type="http://schemas.openxmlformats.org/officeDocument/2006/relationships/slideLayout" Target="../slideLayouts/slideLayout70.xml"/><Relationship Id="rId71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9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76.xml"/><Relationship Id="rId47" Type="http://schemas.openxmlformats.org/officeDocument/2006/relationships/slideLayout" Target="../slideLayouts/slideLayout181.xml"/><Relationship Id="rId63" Type="http://schemas.openxmlformats.org/officeDocument/2006/relationships/slideLayout" Target="../slideLayouts/slideLayout197.xml"/><Relationship Id="rId68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slideLayout" Target="../slideLayouts/slideLayout171.xml"/><Relationship Id="rId40" Type="http://schemas.openxmlformats.org/officeDocument/2006/relationships/slideLayout" Target="../slideLayouts/slideLayout174.xml"/><Relationship Id="rId45" Type="http://schemas.openxmlformats.org/officeDocument/2006/relationships/slideLayout" Target="../slideLayouts/slideLayout179.xml"/><Relationship Id="rId53" Type="http://schemas.openxmlformats.org/officeDocument/2006/relationships/slideLayout" Target="../slideLayouts/slideLayout187.xml"/><Relationship Id="rId58" Type="http://schemas.openxmlformats.org/officeDocument/2006/relationships/slideLayout" Target="../slideLayouts/slideLayout192.xml"/><Relationship Id="rId66" Type="http://schemas.openxmlformats.org/officeDocument/2006/relationships/slideLayout" Target="../slideLayouts/slideLayout200.xml"/><Relationship Id="rId74" Type="http://schemas.openxmlformats.org/officeDocument/2006/relationships/vmlDrawing" Target="../drawings/vmlDrawing75.vml"/><Relationship Id="rId5" Type="http://schemas.openxmlformats.org/officeDocument/2006/relationships/slideLayout" Target="../slideLayouts/slideLayout139.xml"/><Relationship Id="rId61" Type="http://schemas.openxmlformats.org/officeDocument/2006/relationships/slideLayout" Target="../slideLayouts/slideLayout195.xml"/><Relationship Id="rId1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43" Type="http://schemas.openxmlformats.org/officeDocument/2006/relationships/slideLayout" Target="../slideLayouts/slideLayout177.xml"/><Relationship Id="rId48" Type="http://schemas.openxmlformats.org/officeDocument/2006/relationships/slideLayout" Target="../slideLayouts/slideLayout182.xml"/><Relationship Id="rId56" Type="http://schemas.openxmlformats.org/officeDocument/2006/relationships/slideLayout" Target="../slideLayouts/slideLayout190.xml"/><Relationship Id="rId64" Type="http://schemas.openxmlformats.org/officeDocument/2006/relationships/slideLayout" Target="../slideLayouts/slideLayout198.xml"/><Relationship Id="rId69" Type="http://schemas.openxmlformats.org/officeDocument/2006/relationships/slideLayout" Target="../slideLayouts/slideLayout203.xml"/><Relationship Id="rId77" Type="http://schemas.openxmlformats.org/officeDocument/2006/relationships/oleObject" Target="../embeddings/oleObject75.bin"/><Relationship Id="rId8" Type="http://schemas.openxmlformats.org/officeDocument/2006/relationships/slideLayout" Target="../slideLayouts/slideLayout142.xml"/><Relationship Id="rId51" Type="http://schemas.openxmlformats.org/officeDocument/2006/relationships/slideLayout" Target="../slideLayouts/slideLayout185.xml"/><Relationship Id="rId72" Type="http://schemas.openxmlformats.org/officeDocument/2006/relationships/slideLayout" Target="../slideLayouts/slideLayout206.xml"/><Relationship Id="rId3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38" Type="http://schemas.openxmlformats.org/officeDocument/2006/relationships/slideLayout" Target="../slideLayouts/slideLayout172.xml"/><Relationship Id="rId46" Type="http://schemas.openxmlformats.org/officeDocument/2006/relationships/slideLayout" Target="../slideLayouts/slideLayout180.xml"/><Relationship Id="rId59" Type="http://schemas.openxmlformats.org/officeDocument/2006/relationships/slideLayout" Target="../slideLayouts/slideLayout193.xml"/><Relationship Id="rId67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154.xml"/><Relationship Id="rId41" Type="http://schemas.openxmlformats.org/officeDocument/2006/relationships/slideLayout" Target="../slideLayouts/slideLayout175.xml"/><Relationship Id="rId54" Type="http://schemas.openxmlformats.org/officeDocument/2006/relationships/slideLayout" Target="../slideLayouts/slideLayout188.xml"/><Relationship Id="rId62" Type="http://schemas.openxmlformats.org/officeDocument/2006/relationships/slideLayout" Target="../slideLayouts/slideLayout196.xml"/><Relationship Id="rId70" Type="http://schemas.openxmlformats.org/officeDocument/2006/relationships/slideLayout" Target="../slideLayouts/slideLayout204.xml"/><Relationship Id="rId75" Type="http://schemas.openxmlformats.org/officeDocument/2006/relationships/tags" Target="../tags/tag15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49" Type="http://schemas.openxmlformats.org/officeDocument/2006/relationships/slideLayout" Target="../slideLayouts/slideLayout183.xml"/><Relationship Id="rId57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65.xml"/><Relationship Id="rId44" Type="http://schemas.openxmlformats.org/officeDocument/2006/relationships/slideLayout" Target="../slideLayouts/slideLayout178.xml"/><Relationship Id="rId52" Type="http://schemas.openxmlformats.org/officeDocument/2006/relationships/slideLayout" Target="../slideLayouts/slideLayout186.xml"/><Relationship Id="rId60" Type="http://schemas.openxmlformats.org/officeDocument/2006/relationships/slideLayout" Target="../slideLayouts/slideLayout194.xml"/><Relationship Id="rId65" Type="http://schemas.openxmlformats.org/officeDocument/2006/relationships/slideLayout" Target="../slideLayouts/slideLayout199.xml"/><Relationship Id="rId73" Type="http://schemas.openxmlformats.org/officeDocument/2006/relationships/theme" Target="../theme/theme3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9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84.xml"/><Relationship Id="rId55" Type="http://schemas.openxmlformats.org/officeDocument/2006/relationships/slideLayout" Target="../slideLayouts/slideLayout189.xml"/><Relationship Id="rId76" Type="http://schemas.openxmlformats.org/officeDocument/2006/relationships/tags" Target="../tags/tag157.xml"/><Relationship Id="rId7" Type="http://schemas.openxmlformats.org/officeDocument/2006/relationships/slideLayout" Target="../slideLayouts/slideLayout141.xml"/><Relationship Id="rId71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6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32.xml"/><Relationship Id="rId21" Type="http://schemas.openxmlformats.org/officeDocument/2006/relationships/slideLayout" Target="../slideLayouts/slideLayout227.xml"/><Relationship Id="rId42" Type="http://schemas.openxmlformats.org/officeDocument/2006/relationships/slideLayout" Target="../slideLayouts/slideLayout248.xml"/><Relationship Id="rId47" Type="http://schemas.openxmlformats.org/officeDocument/2006/relationships/slideLayout" Target="../slideLayouts/slideLayout253.xml"/><Relationship Id="rId63" Type="http://schemas.openxmlformats.org/officeDocument/2006/relationships/slideLayout" Target="../slideLayouts/slideLayout269.xml"/><Relationship Id="rId68" Type="http://schemas.openxmlformats.org/officeDocument/2006/relationships/vmlDrawing" Target="../drawings/vmlDrawing114.vml"/><Relationship Id="rId7" Type="http://schemas.openxmlformats.org/officeDocument/2006/relationships/slideLayout" Target="../slideLayouts/slideLayout213.xml"/><Relationship Id="rId71" Type="http://schemas.openxmlformats.org/officeDocument/2006/relationships/oleObject" Target="../embeddings/oleObject114.bin"/><Relationship Id="rId2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22.xml"/><Relationship Id="rId29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17.xml"/><Relationship Id="rId24" Type="http://schemas.openxmlformats.org/officeDocument/2006/relationships/slideLayout" Target="../slideLayouts/slideLayout230.xml"/><Relationship Id="rId32" Type="http://schemas.openxmlformats.org/officeDocument/2006/relationships/slideLayout" Target="../slideLayouts/slideLayout238.xml"/><Relationship Id="rId37" Type="http://schemas.openxmlformats.org/officeDocument/2006/relationships/slideLayout" Target="../slideLayouts/slideLayout243.xml"/><Relationship Id="rId40" Type="http://schemas.openxmlformats.org/officeDocument/2006/relationships/slideLayout" Target="../slideLayouts/slideLayout246.xml"/><Relationship Id="rId45" Type="http://schemas.openxmlformats.org/officeDocument/2006/relationships/slideLayout" Target="../slideLayouts/slideLayout251.xml"/><Relationship Id="rId53" Type="http://schemas.openxmlformats.org/officeDocument/2006/relationships/slideLayout" Target="../slideLayouts/slideLayout259.xml"/><Relationship Id="rId58" Type="http://schemas.openxmlformats.org/officeDocument/2006/relationships/slideLayout" Target="../slideLayouts/slideLayout264.xml"/><Relationship Id="rId66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11.xml"/><Relationship Id="rId61" Type="http://schemas.openxmlformats.org/officeDocument/2006/relationships/slideLayout" Target="../slideLayouts/slideLayout267.xml"/><Relationship Id="rId1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20.xml"/><Relationship Id="rId22" Type="http://schemas.openxmlformats.org/officeDocument/2006/relationships/slideLayout" Target="../slideLayouts/slideLayout228.xml"/><Relationship Id="rId27" Type="http://schemas.openxmlformats.org/officeDocument/2006/relationships/slideLayout" Target="../slideLayouts/slideLayout233.xml"/><Relationship Id="rId30" Type="http://schemas.openxmlformats.org/officeDocument/2006/relationships/slideLayout" Target="../slideLayouts/slideLayout236.xml"/><Relationship Id="rId35" Type="http://schemas.openxmlformats.org/officeDocument/2006/relationships/slideLayout" Target="../slideLayouts/slideLayout241.xml"/><Relationship Id="rId43" Type="http://schemas.openxmlformats.org/officeDocument/2006/relationships/slideLayout" Target="../slideLayouts/slideLayout249.xml"/><Relationship Id="rId48" Type="http://schemas.openxmlformats.org/officeDocument/2006/relationships/slideLayout" Target="../slideLayouts/slideLayout254.xml"/><Relationship Id="rId56" Type="http://schemas.openxmlformats.org/officeDocument/2006/relationships/slideLayout" Target="../slideLayouts/slideLayout262.xml"/><Relationship Id="rId64" Type="http://schemas.openxmlformats.org/officeDocument/2006/relationships/slideLayout" Target="../slideLayouts/slideLayout270.xml"/><Relationship Id="rId69" Type="http://schemas.openxmlformats.org/officeDocument/2006/relationships/tags" Target="../tags/tag237.xml"/><Relationship Id="rId8" Type="http://schemas.openxmlformats.org/officeDocument/2006/relationships/slideLayout" Target="../slideLayouts/slideLayout214.xml"/><Relationship Id="rId51" Type="http://schemas.openxmlformats.org/officeDocument/2006/relationships/slideLayout" Target="../slideLayouts/slideLayout257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8.xml"/><Relationship Id="rId17" Type="http://schemas.openxmlformats.org/officeDocument/2006/relationships/slideLayout" Target="../slideLayouts/slideLayout223.xml"/><Relationship Id="rId25" Type="http://schemas.openxmlformats.org/officeDocument/2006/relationships/slideLayout" Target="../slideLayouts/slideLayout231.xml"/><Relationship Id="rId33" Type="http://schemas.openxmlformats.org/officeDocument/2006/relationships/slideLayout" Target="../slideLayouts/slideLayout239.xml"/><Relationship Id="rId38" Type="http://schemas.openxmlformats.org/officeDocument/2006/relationships/slideLayout" Target="../slideLayouts/slideLayout244.xml"/><Relationship Id="rId46" Type="http://schemas.openxmlformats.org/officeDocument/2006/relationships/slideLayout" Target="../slideLayouts/slideLayout252.xml"/><Relationship Id="rId59" Type="http://schemas.openxmlformats.org/officeDocument/2006/relationships/slideLayout" Target="../slideLayouts/slideLayout265.xml"/><Relationship Id="rId67" Type="http://schemas.openxmlformats.org/officeDocument/2006/relationships/theme" Target="../theme/theme4.xml"/><Relationship Id="rId20" Type="http://schemas.openxmlformats.org/officeDocument/2006/relationships/slideLayout" Target="../slideLayouts/slideLayout226.xml"/><Relationship Id="rId41" Type="http://schemas.openxmlformats.org/officeDocument/2006/relationships/slideLayout" Target="../slideLayouts/slideLayout247.xml"/><Relationship Id="rId54" Type="http://schemas.openxmlformats.org/officeDocument/2006/relationships/slideLayout" Target="../slideLayouts/slideLayout260.xml"/><Relationship Id="rId62" Type="http://schemas.openxmlformats.org/officeDocument/2006/relationships/slideLayout" Target="../slideLayouts/slideLayout268.xml"/><Relationship Id="rId70" Type="http://schemas.openxmlformats.org/officeDocument/2006/relationships/tags" Target="../tags/tag23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1.xml"/><Relationship Id="rId23" Type="http://schemas.openxmlformats.org/officeDocument/2006/relationships/slideLayout" Target="../slideLayouts/slideLayout229.xml"/><Relationship Id="rId28" Type="http://schemas.openxmlformats.org/officeDocument/2006/relationships/slideLayout" Target="../slideLayouts/slideLayout234.xml"/><Relationship Id="rId36" Type="http://schemas.openxmlformats.org/officeDocument/2006/relationships/slideLayout" Target="../slideLayouts/slideLayout242.xml"/><Relationship Id="rId49" Type="http://schemas.openxmlformats.org/officeDocument/2006/relationships/slideLayout" Target="../slideLayouts/slideLayout255.xml"/><Relationship Id="rId57" Type="http://schemas.openxmlformats.org/officeDocument/2006/relationships/slideLayout" Target="../slideLayouts/slideLayout263.xml"/><Relationship Id="rId10" Type="http://schemas.openxmlformats.org/officeDocument/2006/relationships/slideLayout" Target="../slideLayouts/slideLayout216.xml"/><Relationship Id="rId31" Type="http://schemas.openxmlformats.org/officeDocument/2006/relationships/slideLayout" Target="../slideLayouts/slideLayout237.xml"/><Relationship Id="rId44" Type="http://schemas.openxmlformats.org/officeDocument/2006/relationships/slideLayout" Target="../slideLayouts/slideLayout250.xml"/><Relationship Id="rId52" Type="http://schemas.openxmlformats.org/officeDocument/2006/relationships/slideLayout" Target="../slideLayouts/slideLayout258.xml"/><Relationship Id="rId60" Type="http://schemas.openxmlformats.org/officeDocument/2006/relationships/slideLayout" Target="../slideLayouts/slideLayout266.xml"/><Relationship Id="rId65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19.xml"/><Relationship Id="rId18" Type="http://schemas.openxmlformats.org/officeDocument/2006/relationships/slideLayout" Target="../slideLayouts/slideLayout224.xml"/><Relationship Id="rId39" Type="http://schemas.openxmlformats.org/officeDocument/2006/relationships/slideLayout" Target="../slideLayouts/slideLayout245.xml"/><Relationship Id="rId34" Type="http://schemas.openxmlformats.org/officeDocument/2006/relationships/slideLayout" Target="../slideLayouts/slideLayout240.xml"/><Relationship Id="rId50" Type="http://schemas.openxmlformats.org/officeDocument/2006/relationships/slideLayout" Target="../slideLayouts/slideLayout256.xml"/><Relationship Id="rId55" Type="http://schemas.openxmlformats.org/officeDocument/2006/relationships/slideLayout" Target="../slideLayouts/slideLayout2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slideLayout" Target="../slideLayouts/slideLayout285.x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slideLayout" Target="../slideLayouts/slideLayout284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274.xml"/><Relationship Id="rId16" Type="http://schemas.openxmlformats.org/officeDocument/2006/relationships/slideLayout" Target="../slideLayouts/slideLayout288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5" Type="http://schemas.openxmlformats.org/officeDocument/2006/relationships/slideLayout" Target="../slideLayouts/slideLayout287.xml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slideLayout" Target="../slideLayouts/slideLayout2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6"/>
            </p:custDataLst>
          </p:nvPr>
        </p:nvGraphicFramePr>
        <p:xfrm>
          <a:off x="1193" y="1600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193" y="1600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7"/>
            </p:custDataLst>
          </p:nvPr>
        </p:nvSpPr>
        <p:spPr>
          <a:xfrm>
            <a:off x="5" y="4"/>
            <a:ext cx="146539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0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7" y="6405041"/>
            <a:ext cx="28575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8" y="6405033"/>
            <a:ext cx="953723" cy="1538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AF80C4FA-0A86-4057-9282-6350135FF325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43" y="2080805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43" y="622808"/>
            <a:ext cx="7982031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89C47C15-FB96-414D-91AA-CBFE63B2E776}"/>
              </a:ext>
            </a:extLst>
          </p:cNvPr>
          <p:cNvSpPr/>
          <p:nvPr userDrawn="1"/>
        </p:nvSpPr>
        <p:spPr>
          <a:xfrm>
            <a:off x="7972310" y="170818"/>
            <a:ext cx="998671" cy="1231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62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  <p:sldLayoutId id="2147483824" r:id="rId32"/>
    <p:sldLayoutId id="2147483825" r:id="rId33"/>
    <p:sldLayoutId id="2147483826" r:id="rId34"/>
    <p:sldLayoutId id="2147483827" r:id="rId35"/>
    <p:sldLayoutId id="2147483828" r:id="rId36"/>
    <p:sldLayoutId id="2147483829" r:id="rId37"/>
    <p:sldLayoutId id="2147483830" r:id="rId38"/>
    <p:sldLayoutId id="2147483831" r:id="rId39"/>
    <p:sldLayoutId id="2147483832" r:id="rId40"/>
    <p:sldLayoutId id="2147483833" r:id="rId41"/>
    <p:sldLayoutId id="2147483834" r:id="rId42"/>
    <p:sldLayoutId id="2147483835" r:id="rId43"/>
    <p:sldLayoutId id="2147483836" r:id="rId44"/>
    <p:sldLayoutId id="2147483837" r:id="rId45"/>
    <p:sldLayoutId id="2147483838" r:id="rId46"/>
    <p:sldLayoutId id="2147483839" r:id="rId47"/>
    <p:sldLayoutId id="2147483840" r:id="rId48"/>
    <p:sldLayoutId id="2147483841" r:id="rId49"/>
    <p:sldLayoutId id="2147483842" r:id="rId50"/>
    <p:sldLayoutId id="2147483843" r:id="rId51"/>
    <p:sldLayoutId id="2147483844" r:id="rId52"/>
    <p:sldLayoutId id="2147483845" r:id="rId53"/>
    <p:sldLayoutId id="2147483846" r:id="rId54"/>
    <p:sldLayoutId id="2147483847" r:id="rId55"/>
    <p:sldLayoutId id="2147483848" r:id="rId56"/>
    <p:sldLayoutId id="2147483849" r:id="rId57"/>
    <p:sldLayoutId id="2147483850" r:id="rId58"/>
    <p:sldLayoutId id="2147483851" r:id="rId59"/>
    <p:sldLayoutId id="2147483852" r:id="rId60"/>
    <p:sldLayoutId id="2147483853" r:id="rId61"/>
    <p:sldLayoutId id="2147483854" r:id="rId62"/>
    <p:sldLayoutId id="2147483855" r:id="rId6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75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75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77BE"/>
        </a:buClr>
        <a:buFont typeface="Arial" panose="020B0604020202020204" pitchFamily="34" charset="0"/>
        <a:buChar char="​"/>
        <a:defRPr lang="en-US" sz="100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23" indent="-172814" algn="l" defTabSz="914475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77BE"/>
        </a:buClr>
        <a:buFont typeface="Arial" panose="020B0604020202020204" pitchFamily="34" charset="0"/>
        <a:buChar char="•"/>
        <a:defRPr lang="en-US" sz="100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41" indent="-165613" algn="l" defTabSz="914475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77BE"/>
        </a:buClr>
        <a:buFont typeface="Trebuchet MS" panose="020B0603020202020204" pitchFamily="34" charset="0"/>
        <a:buChar char="–"/>
        <a:defRPr lang="en-US" sz="100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75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77BE"/>
        </a:buClr>
        <a:buFont typeface="Arial" panose="020B0604020202020204" pitchFamily="34" charset="0"/>
        <a:buChar char="​"/>
        <a:defRPr lang="en-US" sz="1400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75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77BE"/>
        </a:buClr>
        <a:buFont typeface="Arial" panose="020B0604020202020204" pitchFamily="34" charset="0"/>
        <a:buChar char="​"/>
        <a:defRPr lang="en-US" sz="1400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97" indent="-152413" algn="l" defTabSz="914475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77BE"/>
        </a:buClr>
        <a:buFont typeface="Arial" panose="020B0604020202020204" pitchFamily="34" charset="0"/>
        <a:buChar char="•"/>
        <a:defRPr lang="en-US" sz="1400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75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77BE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75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5401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75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77BE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5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2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9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5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23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60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8" algn="l" defTabSz="9144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0" userDrawn="1">
          <p15:clr>
            <a:srgbClr val="F26B43"/>
          </p15:clr>
        </p15:guide>
        <p15:guide id="2" pos="296" userDrawn="1">
          <p15:clr>
            <a:srgbClr val="F26B43"/>
          </p15:clr>
        </p15:guide>
        <p15:guide id="3" pos="4384" userDrawn="1">
          <p15:clr>
            <a:srgbClr val="F26B43"/>
          </p15:clr>
        </p15:guide>
        <p15:guide id="4" orient="horz" pos="387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5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95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43" y="2080805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43" y="622811"/>
            <a:ext cx="7982031" cy="2711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5652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  <p:sldLayoutId id="2147483878" r:id="rId22"/>
    <p:sldLayoutId id="2147483879" r:id="rId23"/>
    <p:sldLayoutId id="2147483880" r:id="rId24"/>
    <p:sldLayoutId id="2147483881" r:id="rId25"/>
    <p:sldLayoutId id="2147483882" r:id="rId26"/>
    <p:sldLayoutId id="2147483883" r:id="rId27"/>
    <p:sldLayoutId id="2147483884" r:id="rId28"/>
    <p:sldLayoutId id="2147483885" r:id="rId29"/>
    <p:sldLayoutId id="2147483886" r:id="rId30"/>
    <p:sldLayoutId id="2147483887" r:id="rId31"/>
    <p:sldLayoutId id="2147483888" r:id="rId32"/>
    <p:sldLayoutId id="2147483889" r:id="rId33"/>
    <p:sldLayoutId id="2147483890" r:id="rId34"/>
    <p:sldLayoutId id="2147483891" r:id="rId35"/>
    <p:sldLayoutId id="2147483892" r:id="rId36"/>
    <p:sldLayoutId id="2147483893" r:id="rId37"/>
    <p:sldLayoutId id="2147483894" r:id="rId38"/>
    <p:sldLayoutId id="2147483895" r:id="rId39"/>
    <p:sldLayoutId id="2147483896" r:id="rId40"/>
    <p:sldLayoutId id="2147483897" r:id="rId41"/>
    <p:sldLayoutId id="2147483898" r:id="rId42"/>
    <p:sldLayoutId id="2147483899" r:id="rId43"/>
    <p:sldLayoutId id="2147483900" r:id="rId44"/>
    <p:sldLayoutId id="2147483901" r:id="rId45"/>
    <p:sldLayoutId id="2147483902" r:id="rId46"/>
    <p:sldLayoutId id="2147483903" r:id="rId47"/>
    <p:sldLayoutId id="2147483904" r:id="rId48"/>
    <p:sldLayoutId id="2147483905" r:id="rId49"/>
    <p:sldLayoutId id="2147483906" r:id="rId50"/>
    <p:sldLayoutId id="2147483907" r:id="rId51"/>
    <p:sldLayoutId id="2147483908" r:id="rId52"/>
    <p:sldLayoutId id="2147483909" r:id="rId53"/>
    <p:sldLayoutId id="2147483910" r:id="rId54"/>
    <p:sldLayoutId id="2147483911" r:id="rId55"/>
    <p:sldLayoutId id="2147483912" r:id="rId56"/>
    <p:sldLayoutId id="2147483913" r:id="rId57"/>
    <p:sldLayoutId id="2147483914" r:id="rId58"/>
    <p:sldLayoutId id="2147483915" r:id="rId59"/>
    <p:sldLayoutId id="2147483916" r:id="rId60"/>
    <p:sldLayoutId id="2147483917" r:id="rId61"/>
    <p:sldLayoutId id="2147483918" r:id="rId62"/>
    <p:sldLayoutId id="2147483919" r:id="rId63"/>
    <p:sldLayoutId id="2147483920" r:id="rId64"/>
    <p:sldLayoutId id="2147483921" r:id="rId65"/>
    <p:sldLayoutId id="2147483922" r:id="rId66"/>
    <p:sldLayoutId id="2147483923" r:id="rId67"/>
    <p:sldLayoutId id="2147483924" r:id="rId68"/>
    <p:sldLayoutId id="2147483925" r:id="rId69"/>
    <p:sldLayoutId id="2147483926" r:id="rId70"/>
    <p:sldLayoutId id="2147483927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95242" rtl="0" eaLnBrk="1" latinLnBrk="0" hangingPunct="1">
        <a:lnSpc>
          <a:spcPct val="90000"/>
        </a:lnSpc>
        <a:spcBef>
          <a:spcPct val="0"/>
        </a:spcBef>
        <a:buNone/>
        <a:defRPr sz="1958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95242" rtl="0" eaLnBrk="1" latinLnBrk="0" hangingPunct="1">
        <a:lnSpc>
          <a:spcPct val="110000"/>
        </a:lnSpc>
        <a:spcBef>
          <a:spcPts val="588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​"/>
        <a:defRPr lang="en-US" sz="979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8441" indent="-169180" algn="l" defTabSz="895242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•"/>
        <a:defRPr lang="en-US" sz="979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00490" indent="-162131" algn="l" defTabSz="895242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77BE"/>
        </a:buClr>
        <a:buFont typeface="Trebuchet MS" panose="020B0603020202020204" pitchFamily="34" charset="0"/>
        <a:buChar char="–"/>
        <a:defRPr lang="en-US" sz="979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95242" rtl="0" eaLnBrk="1" latinLnBrk="0" hangingPunct="1">
        <a:lnSpc>
          <a:spcPct val="110000"/>
        </a:lnSpc>
        <a:spcBef>
          <a:spcPts val="294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​"/>
        <a:defRPr lang="en-US" sz="1371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95242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​"/>
        <a:defRPr lang="en-US" sz="1371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4221" indent="-149207" algn="l" defTabSz="895242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77BE"/>
        </a:buClr>
        <a:buFont typeface="Arial" panose="020B0604020202020204" pitchFamily="34" charset="0"/>
        <a:buChar char="•"/>
        <a:defRPr lang="en-US" sz="137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5242" rtl="0" eaLnBrk="1" latinLnBrk="0" hangingPunct="1">
        <a:lnSpc>
          <a:spcPct val="90000"/>
        </a:lnSpc>
        <a:spcBef>
          <a:spcPts val="881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4308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5242" rtl="0" eaLnBrk="1" latinLnBrk="0" hangingPunct="1">
        <a:lnSpc>
          <a:spcPct val="90000"/>
        </a:lnSpc>
        <a:spcBef>
          <a:spcPts val="881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5287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5242" rtl="0" eaLnBrk="1" latinLnBrk="0" hangingPunct="1">
        <a:lnSpc>
          <a:spcPct val="100000"/>
        </a:lnSpc>
        <a:spcBef>
          <a:spcPts val="0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2350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1pPr>
      <a:lvl2pPr marL="447620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2pPr>
      <a:lvl3pPr marL="895242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3pPr>
      <a:lvl4pPr marL="1342863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4pPr>
      <a:lvl5pPr marL="1790484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5pPr>
      <a:lvl6pPr marL="2238106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6pPr>
      <a:lvl7pPr marL="2685726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7pPr>
      <a:lvl8pPr marL="3133347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8pPr>
      <a:lvl9pPr marL="3580967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2" userDrawn="1">
          <p15:clr>
            <a:srgbClr val="F26B43"/>
          </p15:clr>
        </p15:guide>
        <p15:guide id="2" pos="453" userDrawn="1">
          <p15:clr>
            <a:srgbClr val="F26B43"/>
          </p15:clr>
        </p15:guide>
        <p15:guide id="3" pos="6691" userDrawn="1">
          <p15:clr>
            <a:srgbClr val="F26B43"/>
          </p15:clr>
        </p15:guide>
        <p15:guide id="4" orient="horz" pos="604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42"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6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95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503012" y="6408246"/>
            <a:ext cx="285751" cy="1506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52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7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952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7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43" y="2080805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43" y="622811"/>
            <a:ext cx="7982031" cy="27112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019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3953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60" r:id="rId22"/>
    <p:sldLayoutId id="2147483961" r:id="rId23"/>
    <p:sldLayoutId id="2147483962" r:id="rId24"/>
    <p:sldLayoutId id="2147483963" r:id="rId25"/>
    <p:sldLayoutId id="2147483964" r:id="rId26"/>
    <p:sldLayoutId id="2147483965" r:id="rId27"/>
    <p:sldLayoutId id="2147483966" r:id="rId28"/>
    <p:sldLayoutId id="2147483967" r:id="rId29"/>
    <p:sldLayoutId id="2147483968" r:id="rId30"/>
    <p:sldLayoutId id="2147483969" r:id="rId31"/>
    <p:sldLayoutId id="2147483970" r:id="rId32"/>
    <p:sldLayoutId id="2147483971" r:id="rId33"/>
    <p:sldLayoutId id="2147483972" r:id="rId34"/>
    <p:sldLayoutId id="2147483973" r:id="rId35"/>
    <p:sldLayoutId id="2147483974" r:id="rId36"/>
    <p:sldLayoutId id="2147483975" r:id="rId37"/>
    <p:sldLayoutId id="2147483976" r:id="rId38"/>
    <p:sldLayoutId id="2147483977" r:id="rId39"/>
    <p:sldLayoutId id="2147483978" r:id="rId40"/>
    <p:sldLayoutId id="2147483979" r:id="rId41"/>
    <p:sldLayoutId id="2147483980" r:id="rId42"/>
    <p:sldLayoutId id="2147483981" r:id="rId43"/>
    <p:sldLayoutId id="2147483982" r:id="rId44"/>
    <p:sldLayoutId id="2147483983" r:id="rId45"/>
    <p:sldLayoutId id="2147483984" r:id="rId46"/>
    <p:sldLayoutId id="2147483985" r:id="rId47"/>
    <p:sldLayoutId id="2147483986" r:id="rId48"/>
    <p:sldLayoutId id="2147483987" r:id="rId49"/>
    <p:sldLayoutId id="2147483988" r:id="rId50"/>
    <p:sldLayoutId id="2147483989" r:id="rId51"/>
    <p:sldLayoutId id="2147483990" r:id="rId52"/>
    <p:sldLayoutId id="2147483991" r:id="rId53"/>
    <p:sldLayoutId id="2147483992" r:id="rId54"/>
    <p:sldLayoutId id="2147483993" r:id="rId55"/>
    <p:sldLayoutId id="2147483994" r:id="rId56"/>
    <p:sldLayoutId id="2147483995" r:id="rId57"/>
    <p:sldLayoutId id="2147483996" r:id="rId58"/>
    <p:sldLayoutId id="2147483997" r:id="rId59"/>
    <p:sldLayoutId id="2147483998" r:id="rId60"/>
    <p:sldLayoutId id="2147483999" r:id="rId61"/>
    <p:sldLayoutId id="2147484000" r:id="rId62"/>
    <p:sldLayoutId id="2147484001" r:id="rId63"/>
    <p:sldLayoutId id="2147484002" r:id="rId64"/>
    <p:sldLayoutId id="2147484003" r:id="rId65"/>
    <p:sldLayoutId id="2147484004" r:id="rId66"/>
    <p:sldLayoutId id="2147484005" r:id="rId67"/>
    <p:sldLayoutId id="2147484006" r:id="rId68"/>
    <p:sldLayoutId id="2147484007" r:id="rId69"/>
    <p:sldLayoutId id="2147484008" r:id="rId70"/>
    <p:sldLayoutId id="2147484009" r:id="rId71"/>
    <p:sldLayoutId id="2147484010" r:id="rId7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95242" rtl="0" eaLnBrk="1" latinLnBrk="0" hangingPunct="1">
        <a:lnSpc>
          <a:spcPct val="90000"/>
        </a:lnSpc>
        <a:spcBef>
          <a:spcPct val="0"/>
        </a:spcBef>
        <a:buNone/>
        <a:defRPr sz="1958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95242" rtl="0" eaLnBrk="1" latinLnBrk="0" hangingPunct="1">
        <a:lnSpc>
          <a:spcPct val="110000"/>
        </a:lnSpc>
        <a:spcBef>
          <a:spcPts val="588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​"/>
        <a:defRPr lang="en-US" sz="979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78441" indent="-169180" algn="l" defTabSz="895242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•"/>
        <a:defRPr lang="en-US" sz="979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00490" indent="-162131" algn="l" defTabSz="895242" rtl="0" eaLnBrk="1" latinLnBrk="0" hangingPunct="1">
        <a:lnSpc>
          <a:spcPct val="90000"/>
        </a:lnSpc>
        <a:spcBef>
          <a:spcPts val="0"/>
        </a:spcBef>
        <a:spcAft>
          <a:spcPts val="294"/>
        </a:spcAft>
        <a:buClr>
          <a:srgbClr val="0077BE"/>
        </a:buClr>
        <a:buFont typeface="Trebuchet MS" panose="020B0603020202020204" pitchFamily="34" charset="0"/>
        <a:buChar char="–"/>
        <a:defRPr lang="en-US" sz="979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95242" rtl="0" eaLnBrk="1" latinLnBrk="0" hangingPunct="1">
        <a:lnSpc>
          <a:spcPct val="110000"/>
        </a:lnSpc>
        <a:spcBef>
          <a:spcPts val="294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​"/>
        <a:defRPr lang="en-US" sz="1371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95242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Clr>
          <a:srgbClr val="0077BE"/>
        </a:buClr>
        <a:buFont typeface="Arial" panose="020B0604020202020204" pitchFamily="34" charset="0"/>
        <a:buChar char="​"/>
        <a:defRPr lang="en-US" sz="1371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4221" indent="-149207" algn="l" defTabSz="895242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77BE"/>
        </a:buClr>
        <a:buFont typeface="Arial" panose="020B0604020202020204" pitchFamily="34" charset="0"/>
        <a:buChar char="•"/>
        <a:defRPr lang="en-US" sz="137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5242" rtl="0" eaLnBrk="1" latinLnBrk="0" hangingPunct="1">
        <a:lnSpc>
          <a:spcPct val="90000"/>
        </a:lnSpc>
        <a:spcBef>
          <a:spcPts val="881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4308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5242" rtl="0" eaLnBrk="1" latinLnBrk="0" hangingPunct="1">
        <a:lnSpc>
          <a:spcPct val="90000"/>
        </a:lnSpc>
        <a:spcBef>
          <a:spcPts val="881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5287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5242" rtl="0" eaLnBrk="1" latinLnBrk="0" hangingPunct="1">
        <a:lnSpc>
          <a:spcPct val="100000"/>
        </a:lnSpc>
        <a:spcBef>
          <a:spcPts val="0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2350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1pPr>
      <a:lvl2pPr marL="447620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2pPr>
      <a:lvl3pPr marL="895242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3pPr>
      <a:lvl4pPr marL="1342863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4pPr>
      <a:lvl5pPr marL="1790484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5pPr>
      <a:lvl6pPr marL="2238106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6pPr>
      <a:lvl7pPr marL="2685726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7pPr>
      <a:lvl8pPr marL="3133347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8pPr>
      <a:lvl9pPr marL="3580967" algn="l" defTabSz="895242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2" userDrawn="1">
          <p15:clr>
            <a:srgbClr val="F26B43"/>
          </p15:clr>
        </p15:guide>
        <p15:guide id="2" pos="453" userDrawn="1">
          <p15:clr>
            <a:srgbClr val="F26B43"/>
          </p15:clr>
        </p15:guide>
        <p15:guide id="3" pos="6691" userDrawn="1">
          <p15:clr>
            <a:srgbClr val="F26B43"/>
          </p15:clr>
        </p15:guide>
        <p15:guide id="4" orient="horz" pos="604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572246641"/>
              </p:ext>
            </p:extLst>
          </p:nvPr>
        </p:nvGraphicFramePr>
        <p:xfrm>
          <a:off x="1193" y="159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82"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193" y="159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2" y="4"/>
            <a:ext cx="146538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9048"/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503012" y="6389656"/>
            <a:ext cx="285751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1030073">
              <a:defRPr/>
            </a:pPr>
            <a:fld id="{DFCF27A5-1A5B-48D3-A060-2758FFBB1ADD}" type="slidenum">
              <a:rPr lang="en-US" sz="11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1030073"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43" y="2080805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43" y="622806"/>
            <a:ext cx="7982031" cy="31851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0154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  <p:sldLayoutId id="2147484040" r:id="rId12"/>
    <p:sldLayoutId id="2147484041" r:id="rId13"/>
    <p:sldLayoutId id="2147484042" r:id="rId14"/>
    <p:sldLayoutId id="2147484043" r:id="rId15"/>
    <p:sldLayoutId id="2147484044" r:id="rId16"/>
    <p:sldLayoutId id="2147484045" r:id="rId17"/>
    <p:sldLayoutId id="2147484046" r:id="rId18"/>
    <p:sldLayoutId id="2147484047" r:id="rId19"/>
    <p:sldLayoutId id="2147484048" r:id="rId20"/>
    <p:sldLayoutId id="2147484049" r:id="rId21"/>
    <p:sldLayoutId id="2147484050" r:id="rId22"/>
    <p:sldLayoutId id="2147484051" r:id="rId23"/>
    <p:sldLayoutId id="2147484052" r:id="rId24"/>
    <p:sldLayoutId id="2147484053" r:id="rId25"/>
    <p:sldLayoutId id="2147484054" r:id="rId26"/>
    <p:sldLayoutId id="2147484055" r:id="rId27"/>
    <p:sldLayoutId id="2147484056" r:id="rId28"/>
    <p:sldLayoutId id="2147484057" r:id="rId29"/>
    <p:sldLayoutId id="2147484058" r:id="rId30"/>
    <p:sldLayoutId id="2147484059" r:id="rId31"/>
    <p:sldLayoutId id="2147484060" r:id="rId32"/>
    <p:sldLayoutId id="2147484061" r:id="rId33"/>
    <p:sldLayoutId id="2147484062" r:id="rId34"/>
    <p:sldLayoutId id="2147484063" r:id="rId35"/>
    <p:sldLayoutId id="2147484064" r:id="rId36"/>
    <p:sldLayoutId id="2147484065" r:id="rId37"/>
    <p:sldLayoutId id="2147484066" r:id="rId38"/>
    <p:sldLayoutId id="2147484067" r:id="rId39"/>
    <p:sldLayoutId id="2147484068" r:id="rId40"/>
    <p:sldLayoutId id="2147484069" r:id="rId41"/>
    <p:sldLayoutId id="2147484070" r:id="rId42"/>
    <p:sldLayoutId id="2147484071" r:id="rId43"/>
    <p:sldLayoutId id="2147484072" r:id="rId44"/>
    <p:sldLayoutId id="2147484073" r:id="rId45"/>
    <p:sldLayoutId id="2147484074" r:id="rId46"/>
    <p:sldLayoutId id="2147484075" r:id="rId47"/>
    <p:sldLayoutId id="2147484076" r:id="rId48"/>
    <p:sldLayoutId id="2147484077" r:id="rId49"/>
    <p:sldLayoutId id="2147484078" r:id="rId50"/>
    <p:sldLayoutId id="2147484079" r:id="rId51"/>
    <p:sldLayoutId id="2147484080" r:id="rId52"/>
    <p:sldLayoutId id="2147484081" r:id="rId53"/>
    <p:sldLayoutId id="2147484082" r:id="rId54"/>
    <p:sldLayoutId id="2147484083" r:id="rId55"/>
    <p:sldLayoutId id="2147484084" r:id="rId56"/>
    <p:sldLayoutId id="2147484085" r:id="rId57"/>
    <p:sldLayoutId id="2147484086" r:id="rId58"/>
    <p:sldLayoutId id="2147484087" r:id="rId59"/>
    <p:sldLayoutId id="2147484088" r:id="rId60"/>
    <p:sldLayoutId id="2147484089" r:id="rId61"/>
    <p:sldLayoutId id="2147484090" r:id="rId62"/>
    <p:sldLayoutId id="2147484091" r:id="rId63"/>
    <p:sldLayoutId id="2147484092" r:id="rId64"/>
    <p:sldLayoutId id="2147484093" r:id="rId65"/>
    <p:sldLayoutId id="2147484095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030073" rtl="0" eaLnBrk="1" latinLnBrk="0" hangingPunct="1">
        <a:lnSpc>
          <a:spcPct val="90000"/>
        </a:lnSpc>
        <a:spcBef>
          <a:spcPct val="0"/>
        </a:spcBef>
        <a:buNone/>
        <a:defRPr sz="2300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030073" rtl="0" eaLnBrk="1" latinLnBrk="0" hangingPunct="1">
        <a:lnSpc>
          <a:spcPct val="110000"/>
        </a:lnSpc>
        <a:spcBef>
          <a:spcPts val="676"/>
        </a:spcBef>
        <a:spcAft>
          <a:spcPts val="338"/>
        </a:spcAft>
        <a:buClr>
          <a:srgbClr val="0077BE"/>
        </a:buClr>
        <a:buFont typeface="Arial" panose="020B0604020202020204" pitchFamily="34" charset="0"/>
        <a:buChar char="​"/>
        <a:defRPr lang="en-US" sz="110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376" indent="-194660" algn="l" defTabSz="1030073" rtl="0" eaLnBrk="1" latinLnBrk="0" hangingPunct="1">
        <a:lnSpc>
          <a:spcPct val="90000"/>
        </a:lnSpc>
        <a:spcBef>
          <a:spcPts val="0"/>
        </a:spcBef>
        <a:spcAft>
          <a:spcPts val="338"/>
        </a:spcAft>
        <a:buClr>
          <a:srgbClr val="0077BE"/>
        </a:buClr>
        <a:buFont typeface="Arial" panose="020B0604020202020204" pitchFamily="34" charset="0"/>
        <a:buChar char="•"/>
        <a:defRPr lang="en-US" sz="110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75868" indent="-186547" algn="l" defTabSz="1030073" rtl="0" eaLnBrk="1" latinLnBrk="0" hangingPunct="1">
        <a:lnSpc>
          <a:spcPct val="90000"/>
        </a:lnSpc>
        <a:spcBef>
          <a:spcPts val="0"/>
        </a:spcBef>
        <a:spcAft>
          <a:spcPts val="338"/>
        </a:spcAft>
        <a:buClr>
          <a:srgbClr val="0077BE"/>
        </a:buClr>
        <a:buFont typeface="Trebuchet MS" panose="020B0603020202020204" pitchFamily="34" charset="0"/>
        <a:buChar char="–"/>
        <a:defRPr lang="en-US" sz="110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030073" rtl="0" eaLnBrk="1" latinLnBrk="0" hangingPunct="1">
        <a:lnSpc>
          <a:spcPct val="110000"/>
        </a:lnSpc>
        <a:spcBef>
          <a:spcPts val="338"/>
        </a:spcBef>
        <a:spcAft>
          <a:spcPts val="338"/>
        </a:spcAft>
        <a:buClr>
          <a:srgbClr val="0077BE"/>
        </a:buClr>
        <a:buFont typeface="Arial" panose="020B0604020202020204" pitchFamily="34" charset="0"/>
        <a:buChar char="​"/>
        <a:defRPr lang="en-US" sz="1600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030073" rtl="0" eaLnBrk="1" latinLnBrk="0" hangingPunct="1">
        <a:lnSpc>
          <a:spcPct val="100000"/>
        </a:lnSpc>
        <a:spcBef>
          <a:spcPts val="0"/>
        </a:spcBef>
        <a:spcAft>
          <a:spcPts val="338"/>
        </a:spcAft>
        <a:buClr>
          <a:srgbClr val="0077BE"/>
        </a:buClr>
        <a:buFont typeface="Arial" panose="020B0604020202020204" pitchFamily="34" charset="0"/>
        <a:buChar char="​"/>
        <a:defRPr lang="en-US" sz="1600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04014" indent="-171679" algn="l" defTabSz="1030073" rtl="0" eaLnBrk="1" latinLnBrk="0" hangingPunct="1">
        <a:lnSpc>
          <a:spcPct val="90000"/>
        </a:lnSpc>
        <a:spcBef>
          <a:spcPts val="0"/>
        </a:spcBef>
        <a:spcAft>
          <a:spcPts val="676"/>
        </a:spcAft>
        <a:buClr>
          <a:srgbClr val="0077BE"/>
        </a:buClr>
        <a:buFont typeface="Arial" panose="020B0604020202020204" pitchFamily="34" charset="0"/>
        <a:buChar char="•"/>
        <a:defRPr lang="en-US" sz="1600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030073" rtl="0" eaLnBrk="1" latinLnBrk="0" hangingPunct="1">
        <a:lnSpc>
          <a:spcPct val="90000"/>
        </a:lnSpc>
        <a:spcBef>
          <a:spcPts val="1014"/>
        </a:spcBef>
        <a:spcAft>
          <a:spcPts val="1014"/>
        </a:spcAft>
        <a:buClr>
          <a:srgbClr val="0077BE"/>
        </a:buClr>
        <a:buFont typeface="Arial" panose="020B0604020202020204" pitchFamily="34" charset="0"/>
        <a:buChar char="​"/>
        <a:defRPr lang="en-US" sz="5002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030073" rtl="0" eaLnBrk="1" latinLnBrk="0" hangingPunct="1">
        <a:lnSpc>
          <a:spcPct val="90000"/>
        </a:lnSpc>
        <a:spcBef>
          <a:spcPts val="1014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6101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030073" rtl="0" eaLnBrk="1" latinLnBrk="0" hangingPunct="1">
        <a:lnSpc>
          <a:spcPct val="100000"/>
        </a:lnSpc>
        <a:spcBef>
          <a:spcPts val="0"/>
        </a:spcBef>
        <a:spcAft>
          <a:spcPts val="1014"/>
        </a:spcAft>
        <a:buClr>
          <a:srgbClr val="0077BE"/>
        </a:buClr>
        <a:buFont typeface="Arial" panose="020B0604020202020204" pitchFamily="34" charset="0"/>
        <a:buChar char="​"/>
        <a:defRPr lang="en-US" sz="2700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5036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0073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5109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0145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5182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0217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05254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20290" algn="l" defTabSz="103007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2" userDrawn="1">
          <p15:clr>
            <a:srgbClr val="F26B43"/>
          </p15:clr>
        </p15:guide>
        <p15:guide id="2" pos="453" userDrawn="1">
          <p15:clr>
            <a:srgbClr val="F26B43"/>
          </p15:clr>
        </p15:guide>
        <p15:guide id="3" pos="6691" userDrawn="1">
          <p15:clr>
            <a:srgbClr val="F26B43"/>
          </p15:clr>
        </p15:guide>
        <p15:guide id="4" orient="horz" pos="604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3B4F61-AC00-481E-9853-31A009F3A833}" type="datetime1">
              <a:rPr lang="ru-RU" smtClean="0"/>
              <a:t>12.10.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79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1" r:id="rId14"/>
    <p:sldLayoutId id="2147484112" r:id="rId15"/>
    <p:sldLayoutId id="2147484114" r:id="rId16"/>
  </p:sldLayoutIdLst>
  <p:hf hdr="0" ftr="0" dt="0"/>
  <p:txStyles>
    <p:titleStyle>
      <a:lvl1pPr algn="l" defTabSz="91443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8" indent="-228608" algn="l" defTabSz="91443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23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38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53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67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82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97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13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28" indent="-228608" algn="l" defTabSz="9144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4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1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7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9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0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2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7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74.xml"/><Relationship Id="rId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74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27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13" Type="http://schemas.openxmlformats.org/officeDocument/2006/relationships/image" Target="../media/image35.emf"/><Relationship Id="rId3" Type="http://schemas.openxmlformats.org/officeDocument/2006/relationships/image" Target="../media/image25.emf"/><Relationship Id="rId7" Type="http://schemas.openxmlformats.org/officeDocument/2006/relationships/image" Target="../media/image29.emf"/><Relationship Id="rId12" Type="http://schemas.openxmlformats.org/officeDocument/2006/relationships/image" Target="../media/image34.emf"/><Relationship Id="rId17" Type="http://schemas.openxmlformats.org/officeDocument/2006/relationships/image" Target="../media/image39.e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8.emf"/><Relationship Id="rId1" Type="http://schemas.openxmlformats.org/officeDocument/2006/relationships/slideLayout" Target="../slideLayouts/slideLayout284.xml"/><Relationship Id="rId6" Type="http://schemas.openxmlformats.org/officeDocument/2006/relationships/image" Target="../media/image28.emf"/><Relationship Id="rId11" Type="http://schemas.openxmlformats.org/officeDocument/2006/relationships/image" Target="../media/image33.emf"/><Relationship Id="rId5" Type="http://schemas.openxmlformats.org/officeDocument/2006/relationships/image" Target="../media/image27.emf"/><Relationship Id="rId15" Type="http://schemas.openxmlformats.org/officeDocument/2006/relationships/image" Target="../media/image37.emf"/><Relationship Id="rId10" Type="http://schemas.openxmlformats.org/officeDocument/2006/relationships/image" Target="../media/image32.emf"/><Relationship Id="rId4" Type="http://schemas.openxmlformats.org/officeDocument/2006/relationships/image" Target="../media/image26.emf"/><Relationship Id="rId9" Type="http://schemas.openxmlformats.org/officeDocument/2006/relationships/image" Target="../media/image31.emf"/><Relationship Id="rId14" Type="http://schemas.openxmlformats.org/officeDocument/2006/relationships/image" Target="../media/image36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288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74.xml"/><Relationship Id="rId5" Type="http://schemas.openxmlformats.org/officeDocument/2006/relationships/image" Target="../media/image78.jpg"/><Relationship Id="rId4" Type="http://schemas.openxmlformats.org/officeDocument/2006/relationships/image" Target="../media/image7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88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0.png"/><Relationship Id="rId7" Type="http://schemas.openxmlformats.org/officeDocument/2006/relationships/image" Target="../media/image89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87.png"/><Relationship Id="rId10" Type="http://schemas.openxmlformats.org/officeDocument/2006/relationships/image" Target="../media/image92.png"/><Relationship Id="rId4" Type="http://schemas.openxmlformats.org/officeDocument/2006/relationships/image" Target="../media/image78.jpg"/><Relationship Id="rId9" Type="http://schemas.openxmlformats.org/officeDocument/2006/relationships/image" Target="../media/image9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7" Type="http://schemas.openxmlformats.org/officeDocument/2006/relationships/image" Target="../media/image9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74.xml"/><Relationship Id="rId5" Type="http://schemas.openxmlformats.org/officeDocument/2006/relationships/image" Target="../media/image97.png"/><Relationship Id="rId4" Type="http://schemas.openxmlformats.org/officeDocument/2006/relationships/image" Target="../media/image8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7" Type="http://schemas.openxmlformats.org/officeDocument/2006/relationships/image" Target="../media/image101.png"/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288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3.png"/><Relationship Id="rId7" Type="http://schemas.openxmlformats.org/officeDocument/2006/relationships/image" Target="../media/image107.png"/><Relationship Id="rId2" Type="http://schemas.openxmlformats.org/officeDocument/2006/relationships/image" Target="../media/image102.jp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4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84.xml"/><Relationship Id="rId6" Type="http://schemas.openxmlformats.org/officeDocument/2006/relationships/image" Target="../media/image112.jpg"/><Relationship Id="rId5" Type="http://schemas.openxmlformats.org/officeDocument/2006/relationships/image" Target="../media/image111.jpg"/><Relationship Id="rId4" Type="http://schemas.openxmlformats.org/officeDocument/2006/relationships/image" Target="../media/image1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85.xml"/><Relationship Id="rId4" Type="http://schemas.openxmlformats.org/officeDocument/2006/relationships/image" Target="../media/image11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28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7" Type="http://schemas.openxmlformats.org/officeDocument/2006/relationships/image" Target="../media/image4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39.emf"/><Relationship Id="rId5" Type="http://schemas.openxmlformats.org/officeDocument/2006/relationships/image" Target="../media/image116.png"/><Relationship Id="rId4" Type="http://schemas.openxmlformats.org/officeDocument/2006/relationships/image" Target="../media/image115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3.xml"/><Relationship Id="rId5" Type="http://schemas.openxmlformats.org/officeDocument/2006/relationships/image" Target="../media/image39.emf"/><Relationship Id="rId4" Type="http://schemas.openxmlformats.org/officeDocument/2006/relationships/image" Target="../media/image116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openxmlformats.org/officeDocument/2006/relationships/image" Target="../media/image117.png"/><Relationship Id="rId7" Type="http://schemas.openxmlformats.org/officeDocument/2006/relationships/image" Target="../media/image119.png"/><Relationship Id="rId12" Type="http://schemas.openxmlformats.org/officeDocument/2006/relationships/image" Target="NUL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9.xml"/><Relationship Id="rId6" Type="http://schemas.openxmlformats.org/officeDocument/2006/relationships/image" Target="../media/image118.jpg"/><Relationship Id="rId11" Type="http://schemas.openxmlformats.org/officeDocument/2006/relationships/image" Target="../media/image122.png"/><Relationship Id="rId5" Type="http://schemas.openxmlformats.org/officeDocument/2006/relationships/image" Target="NULL"/><Relationship Id="rId10" Type="http://schemas.openxmlformats.org/officeDocument/2006/relationships/image" Target="../media/image121.png"/><Relationship Id="rId9" Type="http://schemas.openxmlformats.org/officeDocument/2006/relationships/image" Target="../media/image12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8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5" Type="http://schemas.openxmlformats.org/officeDocument/2006/relationships/hyperlink" Target="consultantplus://offline/ref=5AEFAF025FADDA5A38F2F5ACEEE59F37CC8D1EC4871629E1E65DECF08C6AC6E8B8888179735A969366795D71EC1B078B5AE9A90AC2B23176I0j7G" TargetMode="External"/><Relationship Id="rId4" Type="http://schemas.openxmlformats.org/officeDocument/2006/relationships/image" Target="../media/image4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4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4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4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6" Type="http://schemas.openxmlformats.org/officeDocument/2006/relationships/hyperlink" Target="mailto:gku@r47.rosreestr.ru" TargetMode="External"/><Relationship Id="rId5" Type="http://schemas.openxmlformats.org/officeDocument/2006/relationships/hyperlink" Target="mailto:ddu@r47.rosreestr.ru" TargetMode="External"/><Relationship Id="rId4" Type="http://schemas.openxmlformats.org/officeDocument/2006/relationships/image" Target="../media/image4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23.jpg"/><Relationship Id="rId1" Type="http://schemas.openxmlformats.org/officeDocument/2006/relationships/slideLayout" Target="../slideLayouts/slideLayout27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73.xml"/><Relationship Id="rId4" Type="http://schemas.openxmlformats.org/officeDocument/2006/relationships/image" Target="../media/image4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7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74.xml"/><Relationship Id="rId4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9" Type="http://schemas.openxmlformats.org/officeDocument/2006/relationships/image" Target="../media/image5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89536">
              <a:lnSpc>
                <a:spcPts val="1551"/>
              </a:lnSpc>
            </a:pPr>
            <a:fld id="{81D60167-4931-47E6-BA6A-407CBD079E47}" type="slidenum">
              <a:rPr lang="ru-RU" sz="1341" spc="-152">
                <a:solidFill>
                  <a:srgbClr val="FFFFFF"/>
                </a:solidFill>
                <a:latin typeface="Arial Narrow"/>
                <a:cs typeface="Arial Narrow"/>
              </a:rPr>
              <a:pPr marL="89536">
                <a:lnSpc>
                  <a:spcPts val="1551"/>
                </a:lnSpc>
              </a:pPr>
              <a:t>1</a:t>
            </a:fld>
            <a:endParaRPr lang="ru-RU" sz="1341" dirty="0">
              <a:latin typeface="Arial Narrow"/>
              <a:cs typeface="Arial Narrow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72E50D8-452A-9F43-8A78-82A606A7D216}"/>
              </a:ext>
            </a:extLst>
          </p:cNvPr>
          <p:cNvSpPr txBox="1"/>
          <p:nvPr/>
        </p:nvSpPr>
        <p:spPr>
          <a:xfrm>
            <a:off x="434452" y="1836995"/>
            <a:ext cx="3273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F8D70BFC-64DB-B64D-888F-66B16EA8FEBD}"/>
              </a:ext>
            </a:extLst>
          </p:cNvPr>
          <p:cNvSpPr txBox="1"/>
          <p:nvPr/>
        </p:nvSpPr>
        <p:spPr>
          <a:xfrm>
            <a:off x="434452" y="3961563"/>
            <a:ext cx="3273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45EAC2AA-0996-1C48-BB3C-999682576DE6}"/>
              </a:ext>
            </a:extLst>
          </p:cNvPr>
          <p:cNvSpPr/>
          <p:nvPr/>
        </p:nvSpPr>
        <p:spPr>
          <a:xfrm>
            <a:off x="67658" y="2330543"/>
            <a:ext cx="639029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3E7EBD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Актуальные вопросы</a:t>
            </a:r>
          </a:p>
          <a:p>
            <a:r>
              <a:rPr lang="ru-RU" sz="4400" b="1" dirty="0">
                <a:solidFill>
                  <a:srgbClr val="3E7EBD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в сфере земли</a:t>
            </a:r>
          </a:p>
          <a:p>
            <a:r>
              <a:rPr lang="ru-RU" sz="4400" b="1" dirty="0">
                <a:solidFill>
                  <a:srgbClr val="3E7EBD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и недвижимост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3230EFF-B66D-EB4B-B0FF-F335C3E545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4335" y="0"/>
            <a:ext cx="4359915" cy="6858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37A9A3E-F022-0944-96B2-32FC905FD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55992" y="0"/>
            <a:ext cx="4538382" cy="685800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45EAC2AA-0996-1C48-BB3C-999682576DE6}"/>
              </a:ext>
            </a:extLst>
          </p:cNvPr>
          <p:cNvSpPr/>
          <p:nvPr/>
        </p:nvSpPr>
        <p:spPr>
          <a:xfrm>
            <a:off x="0" y="1066452"/>
            <a:ext cx="73230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407EBE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Управление Росреестра по Ленинградской област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45EAC2AA-0996-1C48-BB3C-999682576DE6}"/>
              </a:ext>
            </a:extLst>
          </p:cNvPr>
          <p:cNvSpPr/>
          <p:nvPr/>
        </p:nvSpPr>
        <p:spPr>
          <a:xfrm>
            <a:off x="198873" y="5384073"/>
            <a:ext cx="5618952" cy="895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455"/>
              </a:spcBef>
            </a:pPr>
            <a:r>
              <a:rPr lang="ru-RU" sz="1600" b="1" dirty="0">
                <a:solidFill>
                  <a:srgbClr val="0070C0"/>
                </a:solidFill>
                <a:latin typeface="Trebuchet MS"/>
                <a:cs typeface="Trebuchet MS"/>
              </a:rPr>
              <a:t>Кислицына Наталья </a:t>
            </a:r>
            <a:r>
              <a:rPr lang="ru-RU" sz="1600" b="1" dirty="0" smtClean="0">
                <a:solidFill>
                  <a:srgbClr val="0070C0"/>
                </a:solidFill>
                <a:latin typeface="Trebuchet MS"/>
                <a:cs typeface="Trebuchet MS"/>
              </a:rPr>
              <a:t>Альбертовна -</a:t>
            </a:r>
            <a:endParaRPr lang="ru-RU" sz="1600" b="1" dirty="0">
              <a:solidFill>
                <a:srgbClr val="0070C0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  <a:spcBef>
                <a:spcPts val="455"/>
              </a:spcBef>
            </a:pPr>
            <a:r>
              <a:rPr lang="ru-RU" sz="1600" b="1" dirty="0" err="1" smtClean="0">
                <a:solidFill>
                  <a:srgbClr val="0070C0"/>
                </a:solidFill>
                <a:latin typeface="Trebuchet MS"/>
                <a:cs typeface="Trebuchet MS"/>
              </a:rPr>
              <a:t>Врио</a:t>
            </a:r>
            <a:r>
              <a:rPr lang="ru-RU" sz="1600" b="1" dirty="0" smtClean="0">
                <a:solidFill>
                  <a:srgbClr val="0070C0"/>
                </a:solidFill>
                <a:latin typeface="Trebuchet MS"/>
                <a:cs typeface="Trebuchet MS"/>
              </a:rPr>
              <a:t> заместителя руководителя </a:t>
            </a:r>
            <a:r>
              <a:rPr lang="ru-RU" sz="1600" b="1" dirty="0">
                <a:solidFill>
                  <a:srgbClr val="0070C0"/>
                </a:solidFill>
                <a:latin typeface="Trebuchet MS"/>
                <a:cs typeface="Trebuchet MS"/>
              </a:rPr>
              <a:t>Управления </a:t>
            </a:r>
            <a:r>
              <a:rPr lang="ru-RU" sz="1600" b="1" dirty="0" err="1">
                <a:solidFill>
                  <a:srgbClr val="0070C0"/>
                </a:solidFill>
                <a:latin typeface="Trebuchet MS"/>
                <a:cs typeface="Trebuchet MS"/>
              </a:rPr>
              <a:t>Росреестра</a:t>
            </a:r>
            <a:r>
              <a:rPr lang="ru-RU" sz="1600" b="1" dirty="0">
                <a:solidFill>
                  <a:srgbClr val="0070C0"/>
                </a:solidFill>
                <a:latin typeface="Trebuchet MS"/>
                <a:cs typeface="Trebuchet MS"/>
              </a:rPr>
              <a:t> </a:t>
            </a:r>
            <a:r>
              <a:rPr lang="ru-RU" sz="1600" b="1" dirty="0" smtClean="0">
                <a:solidFill>
                  <a:srgbClr val="0070C0"/>
                </a:solidFill>
                <a:latin typeface="Trebuchet MS"/>
                <a:cs typeface="Trebuchet MS"/>
              </a:rPr>
              <a:t>по </a:t>
            </a:r>
            <a:r>
              <a:rPr lang="ru-RU" sz="1600" b="1" dirty="0">
                <a:solidFill>
                  <a:srgbClr val="0070C0"/>
                </a:solidFill>
                <a:latin typeface="Trebuchet MS"/>
                <a:cs typeface="Trebuchet MS"/>
              </a:rPr>
              <a:t>Ленинградской области 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399" y="127790"/>
            <a:ext cx="1684581" cy="70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38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90512" y="206438"/>
            <a:ext cx="8703310" cy="6224905"/>
            <a:chOff x="290512" y="206438"/>
            <a:chExt cx="8703310" cy="622490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90512" y="206438"/>
              <a:ext cx="514350" cy="779462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0375" y="836612"/>
              <a:ext cx="8532876" cy="5594350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928217" y="157733"/>
            <a:ext cx="7781925" cy="635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latin typeface="Segoe UI"/>
                <a:cs typeface="Segoe UI"/>
              </a:rPr>
              <a:t>Кадастровый </a:t>
            </a:r>
            <a:r>
              <a:rPr sz="2000" b="1" spc="-10" dirty="0">
                <a:latin typeface="Segoe UI"/>
                <a:cs typeface="Segoe UI"/>
              </a:rPr>
              <a:t>инженер </a:t>
            </a:r>
            <a:r>
              <a:rPr sz="2000" b="1" spc="-5" dirty="0">
                <a:latin typeface="Segoe UI"/>
                <a:cs typeface="Segoe UI"/>
              </a:rPr>
              <a:t>имеет право обратиться за ГКУ </a:t>
            </a:r>
            <a:r>
              <a:rPr sz="2000" b="1" dirty="0">
                <a:latin typeface="Segoe UI"/>
                <a:cs typeface="Segoe UI"/>
              </a:rPr>
              <a:t>и (или) </a:t>
            </a:r>
            <a:r>
              <a:rPr sz="2000" b="1" spc="-540" dirty="0">
                <a:latin typeface="Segoe UI"/>
                <a:cs typeface="Segoe UI"/>
              </a:rPr>
              <a:t> </a:t>
            </a:r>
            <a:r>
              <a:rPr sz="2000" b="1" spc="-5" dirty="0">
                <a:latin typeface="Segoe UI"/>
                <a:cs typeface="Segoe UI"/>
              </a:rPr>
              <a:t>ГРП</a:t>
            </a:r>
            <a:r>
              <a:rPr sz="2000" b="1" spc="-40" dirty="0">
                <a:latin typeface="Segoe UI"/>
                <a:cs typeface="Segoe UI"/>
              </a:rPr>
              <a:t> </a:t>
            </a:r>
            <a:r>
              <a:rPr sz="2000" b="1" dirty="0">
                <a:latin typeface="Segoe UI"/>
                <a:cs typeface="Segoe UI"/>
              </a:rPr>
              <a:t>в следующих</a:t>
            </a:r>
            <a:r>
              <a:rPr sz="2000" b="1" spc="-50" dirty="0">
                <a:latin typeface="Segoe UI"/>
                <a:cs typeface="Segoe UI"/>
              </a:rPr>
              <a:t> </a:t>
            </a:r>
            <a:r>
              <a:rPr sz="2000" b="1" dirty="0">
                <a:latin typeface="Segoe UI"/>
                <a:cs typeface="Segoe UI"/>
              </a:rPr>
              <a:t>случаях: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8706866" y="6484222"/>
            <a:ext cx="16129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10</a:t>
            </a:fld>
            <a:endParaRPr sz="1200">
              <a:latin typeface="Arial"/>
              <a:cs typeface="Arial"/>
            </a:endParaRPr>
          </a:p>
        </p:txBody>
      </p:sp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485775" y="1119250"/>
          <a:ext cx="8011795" cy="53450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142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975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77647">
                <a:tc>
                  <a:txBody>
                    <a:bodyPr/>
                    <a:lstStyle/>
                    <a:p>
                      <a:pPr marL="368935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1800" b="1" spc="-5" dirty="0">
                          <a:latin typeface="Calibri"/>
                          <a:cs typeface="Calibri"/>
                        </a:rPr>
                        <a:t>Основание</a:t>
                      </a:r>
                      <a:r>
                        <a:rPr sz="1800" b="1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b="1" spc="-20" dirty="0">
                          <a:latin typeface="Calibri"/>
                          <a:cs typeface="Calibri"/>
                        </a:rPr>
                        <a:t>ГКУ: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30480" marB="0">
                    <a:lnT w="12700">
                      <a:solidFill>
                        <a:srgbClr val="4AACC5"/>
                      </a:solidFill>
                      <a:prstDash val="solid"/>
                    </a:lnT>
                    <a:lnB w="12700">
                      <a:solidFill>
                        <a:srgbClr val="4AACC5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 algn="ctr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1800" b="1" spc="-10" dirty="0">
                          <a:latin typeface="Calibri"/>
                          <a:cs typeface="Calibri"/>
                        </a:rPr>
                        <a:t>Заказчиком</a:t>
                      </a:r>
                      <a:r>
                        <a:rPr sz="18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b="1" spc="-5" dirty="0">
                          <a:latin typeface="Calibri"/>
                          <a:cs typeface="Calibri"/>
                        </a:rPr>
                        <a:t>кадастровых</a:t>
                      </a:r>
                      <a:r>
                        <a:rPr sz="18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b="1" spc="-5" dirty="0">
                          <a:latin typeface="Calibri"/>
                          <a:cs typeface="Calibri"/>
                        </a:rPr>
                        <a:t>работ</a:t>
                      </a:r>
                      <a:r>
                        <a:rPr sz="18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b="1" spc="-5" dirty="0">
                          <a:latin typeface="Calibri"/>
                          <a:cs typeface="Calibri"/>
                        </a:rPr>
                        <a:t>является: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0480" marB="0">
                    <a:lnT w="12700">
                      <a:solidFill>
                        <a:srgbClr val="4AACC5"/>
                      </a:solidFill>
                      <a:prstDash val="solid"/>
                    </a:lnT>
                    <a:lnB w="12700">
                      <a:solidFill>
                        <a:srgbClr val="4AACC5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62024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образование</a:t>
                      </a:r>
                      <a:r>
                        <a:rPr sz="18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ЗУ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0480" marB="0">
                    <a:lnT w="12700">
                      <a:solidFill>
                        <a:srgbClr val="4AACC5"/>
                      </a:solidFill>
                      <a:prstDash val="solid"/>
                    </a:lnT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282575" indent="-121285">
                        <a:lnSpc>
                          <a:spcPct val="100000"/>
                        </a:lnSpc>
                        <a:spcBef>
                          <a:spcPts val="240"/>
                        </a:spcBef>
                        <a:buChar char="-"/>
                        <a:tabLst>
                          <a:tab pos="283210" algn="l"/>
                        </a:tabLst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собственник</a:t>
                      </a:r>
                      <a:r>
                        <a:rPr sz="18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5" dirty="0">
                          <a:latin typeface="Calibri"/>
                          <a:cs typeface="Calibri"/>
                        </a:rPr>
                        <a:t>исходного </a:t>
                      </a:r>
                      <a:r>
                        <a:rPr sz="1800" spc="-30" dirty="0">
                          <a:latin typeface="Calibri"/>
                          <a:cs typeface="Calibri"/>
                        </a:rPr>
                        <a:t>ЗУ;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marL="282575" indent="-121285">
                        <a:lnSpc>
                          <a:spcPct val="100000"/>
                        </a:lnSpc>
                        <a:spcBef>
                          <a:spcPts val="5"/>
                        </a:spcBef>
                        <a:buChar char="-"/>
                        <a:tabLst>
                          <a:tab pos="283210" algn="l"/>
                        </a:tabLst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лицо,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5" dirty="0">
                          <a:latin typeface="Calibri"/>
                          <a:cs typeface="Calibri"/>
                        </a:rPr>
                        <a:t>которому</a:t>
                      </a:r>
                      <a:r>
                        <a:rPr sz="18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ЗУ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предоставлен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 в</a:t>
                      </a:r>
                      <a:r>
                        <a:rPr sz="1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пожизненное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marL="161925" marR="43942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наследуемое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владение 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или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постоянное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(бессрочное) </a:t>
                      </a:r>
                      <a:r>
                        <a:rPr sz="1800" spc="-3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пользование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0480" marB="0">
                    <a:lnT w="12700">
                      <a:solidFill>
                        <a:srgbClr val="4AACC5"/>
                      </a:solidFill>
                      <a:prstDash val="solid"/>
                    </a:lnT>
                    <a:solidFill>
                      <a:srgbClr val="DAEE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99589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уточнения</a:t>
                      </a:r>
                      <a:r>
                        <a:rPr sz="18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границ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земельного</a:t>
                      </a:r>
                      <a:r>
                        <a:rPr sz="18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участка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1115" marB="0"/>
                </a:tc>
                <a:tc>
                  <a:txBody>
                    <a:bodyPr/>
                    <a:lstStyle/>
                    <a:p>
                      <a:pPr marL="282575" indent="-121285">
                        <a:lnSpc>
                          <a:spcPct val="100000"/>
                        </a:lnSpc>
                        <a:spcBef>
                          <a:spcPts val="245"/>
                        </a:spcBef>
                        <a:buChar char="-"/>
                        <a:tabLst>
                          <a:tab pos="283210" algn="l"/>
                        </a:tabLst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собственник</a:t>
                      </a:r>
                      <a:r>
                        <a:rPr sz="18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60" dirty="0">
                          <a:latin typeface="Calibri"/>
                          <a:cs typeface="Calibri"/>
                        </a:rPr>
                        <a:t>ЗУ,</a:t>
                      </a:r>
                      <a:r>
                        <a:rPr sz="1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границы</a:t>
                      </a:r>
                      <a:r>
                        <a:rPr sz="18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5" dirty="0">
                          <a:latin typeface="Calibri"/>
                          <a:cs typeface="Calibri"/>
                        </a:rPr>
                        <a:t>которого</a:t>
                      </a:r>
                      <a:r>
                        <a:rPr sz="18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уточняются,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marL="282575" indent="-121285">
                        <a:lnSpc>
                          <a:spcPct val="100000"/>
                        </a:lnSpc>
                        <a:buChar char="-"/>
                        <a:tabLst>
                          <a:tab pos="283210" algn="l"/>
                        </a:tabLst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лицо,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5" dirty="0">
                          <a:latin typeface="Calibri"/>
                          <a:cs typeface="Calibri"/>
                        </a:rPr>
                        <a:t>которому</a:t>
                      </a:r>
                      <a:r>
                        <a:rPr sz="18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ЗУ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предоставлен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 в</a:t>
                      </a:r>
                      <a:r>
                        <a:rPr sz="1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пожизненное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marL="161925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наследуемое</a:t>
                      </a:r>
                      <a:r>
                        <a:rPr sz="18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владение,</a:t>
                      </a:r>
                      <a:r>
                        <a:rPr sz="18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постоянное</a:t>
                      </a:r>
                      <a:r>
                        <a:rPr sz="18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(бессрочное)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marL="161925" marR="12573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Calibri"/>
                          <a:cs typeface="Calibri"/>
                        </a:rPr>
                        <a:t>пользование,</a:t>
                      </a:r>
                      <a:r>
                        <a:rPr sz="1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 аренду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 или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безвозмездное</a:t>
                      </a:r>
                      <a:r>
                        <a:rPr sz="18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пользование </a:t>
                      </a:r>
                      <a:r>
                        <a:rPr sz="1800" spc="-3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на</a:t>
                      </a:r>
                      <a:r>
                        <a:rPr sz="18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срок</a:t>
                      </a:r>
                      <a:r>
                        <a:rPr sz="18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более</a:t>
                      </a:r>
                      <a:r>
                        <a:rPr sz="1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пяти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лет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1115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605788">
                <a:tc>
                  <a:txBody>
                    <a:bodyPr/>
                    <a:lstStyle/>
                    <a:p>
                      <a:pPr marL="91440" marR="15430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800" spc="-5" dirty="0">
                          <a:latin typeface="Calibri"/>
                          <a:cs typeface="Calibri"/>
                        </a:rPr>
                        <a:t>образование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ЗУ </a:t>
                      </a:r>
                      <a:r>
                        <a:rPr sz="1800" spc="-20" dirty="0">
                          <a:latin typeface="Calibri"/>
                          <a:cs typeface="Calibri"/>
                        </a:rPr>
                        <a:t>под </a:t>
                      </a:r>
                      <a:r>
                        <a:rPr sz="1800" spc="-4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многоквартирным 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домом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B w="12700">
                      <a:solidFill>
                        <a:srgbClr val="4AACC5"/>
                      </a:solidFill>
                      <a:prstDash val="soli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marL="161925" marR="238125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800" dirty="0">
                          <a:latin typeface="Calibri"/>
                          <a:cs typeface="Calibri"/>
                        </a:rPr>
                        <a:t>-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уполномоченные</a:t>
                      </a:r>
                      <a:r>
                        <a:rPr sz="18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органы</a:t>
                      </a:r>
                      <a:r>
                        <a:rPr sz="18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5" dirty="0">
                          <a:latin typeface="Calibri"/>
                          <a:cs typeface="Calibri"/>
                        </a:rPr>
                        <a:t>государственной</a:t>
                      </a:r>
                      <a:r>
                        <a:rPr sz="18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власти</a:t>
                      </a:r>
                      <a:r>
                        <a:rPr sz="1800" dirty="0">
                          <a:latin typeface="Calibri"/>
                          <a:cs typeface="Calibri"/>
                        </a:rPr>
                        <a:t> или </a:t>
                      </a:r>
                      <a:r>
                        <a:rPr sz="1800" spc="-39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органы</a:t>
                      </a:r>
                      <a:r>
                        <a:rPr sz="18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>
                          <a:latin typeface="Calibri"/>
                          <a:cs typeface="Calibri"/>
                        </a:rPr>
                        <a:t>местного</a:t>
                      </a:r>
                      <a:r>
                        <a:rPr sz="18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latin typeface="Calibri"/>
                          <a:cs typeface="Calibri"/>
                        </a:rPr>
                        <a:t>самоуправления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B w="12700">
                      <a:solidFill>
                        <a:srgbClr val="4AACC5"/>
                      </a:solidFill>
                      <a:prstDash val="solid"/>
                    </a:lnB>
                    <a:solidFill>
                      <a:srgbClr val="DAEE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725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90512" y="168338"/>
            <a:ext cx="8866505" cy="5904230"/>
            <a:chOff x="290512" y="168338"/>
            <a:chExt cx="8866505" cy="590423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90512" y="206438"/>
              <a:ext cx="514350" cy="779462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77862" y="404812"/>
              <a:ext cx="8266049" cy="5667375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854075" y="181038"/>
              <a:ext cx="8289925" cy="655955"/>
            </a:xfrm>
            <a:custGeom>
              <a:avLst/>
              <a:gdLst/>
              <a:ahLst/>
              <a:cxnLst/>
              <a:rect l="l" t="t" r="r" b="b"/>
              <a:pathLst>
                <a:path w="8289925" h="655955">
                  <a:moveTo>
                    <a:pt x="8289925" y="0"/>
                  </a:moveTo>
                  <a:lnTo>
                    <a:pt x="0" y="0"/>
                  </a:lnTo>
                  <a:lnTo>
                    <a:pt x="0" y="655637"/>
                  </a:lnTo>
                  <a:lnTo>
                    <a:pt x="8289925" y="655637"/>
                  </a:lnTo>
                  <a:lnTo>
                    <a:pt x="82899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54075" y="181038"/>
              <a:ext cx="8289925" cy="655955"/>
            </a:xfrm>
            <a:custGeom>
              <a:avLst/>
              <a:gdLst/>
              <a:ahLst/>
              <a:cxnLst/>
              <a:rect l="l" t="t" r="r" b="b"/>
              <a:pathLst>
                <a:path w="8289925" h="655955">
                  <a:moveTo>
                    <a:pt x="0" y="655637"/>
                  </a:moveTo>
                  <a:lnTo>
                    <a:pt x="8289925" y="655637"/>
                  </a:lnTo>
                  <a:lnTo>
                    <a:pt x="8289925" y="0"/>
                  </a:lnTo>
                  <a:lnTo>
                    <a:pt x="0" y="0"/>
                  </a:lnTo>
                  <a:lnTo>
                    <a:pt x="0" y="655637"/>
                  </a:lnTo>
                  <a:close/>
                </a:path>
              </a:pathLst>
            </a:custGeom>
            <a:ln w="254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66369" rIns="0" bIns="0" rtlCol="0">
            <a:spAutoFit/>
          </a:bodyPr>
          <a:lstStyle/>
          <a:p>
            <a:pPr marL="697865" marR="5080">
              <a:lnSpc>
                <a:spcPct val="100000"/>
              </a:lnSpc>
              <a:spcBef>
                <a:spcPts val="105"/>
              </a:spcBef>
            </a:pPr>
            <a:r>
              <a:rPr sz="2000" spc="-5" dirty="0">
                <a:latin typeface="Segoe UI"/>
                <a:cs typeface="Segoe UI"/>
              </a:rPr>
              <a:t>Документы подтверждающие </a:t>
            </a:r>
            <a:r>
              <a:rPr sz="2000" dirty="0">
                <a:latin typeface="Segoe UI"/>
                <a:cs typeface="Segoe UI"/>
              </a:rPr>
              <a:t>полномочия </a:t>
            </a:r>
            <a:r>
              <a:rPr sz="2000" spc="-5" dirty="0">
                <a:latin typeface="Segoe UI"/>
                <a:cs typeface="Segoe UI"/>
              </a:rPr>
              <a:t>кадастрового </a:t>
            </a:r>
            <a:r>
              <a:rPr sz="2000" spc="-540" dirty="0">
                <a:latin typeface="Segoe UI"/>
                <a:cs typeface="Segoe UI"/>
              </a:rPr>
              <a:t> </a:t>
            </a:r>
            <a:r>
              <a:rPr sz="2000" spc="-10" dirty="0">
                <a:latin typeface="Segoe UI"/>
                <a:cs typeface="Segoe UI"/>
              </a:rPr>
              <a:t>инженера</a:t>
            </a:r>
            <a:endParaRPr sz="2000">
              <a:latin typeface="Segoe UI"/>
              <a:cs typeface="Segoe UI"/>
            </a:endParaRPr>
          </a:p>
        </p:txBody>
      </p:sp>
      <p:pic>
        <p:nvPicPr>
          <p:cNvPr id="8" name="object 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472183" y="1362455"/>
            <a:ext cx="6195060" cy="114300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1877314" y="1545158"/>
            <a:ext cx="422909" cy="14890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600" b="1" dirty="0">
                <a:solidFill>
                  <a:srgbClr val="1F487C"/>
                </a:solidFill>
                <a:latin typeface="Calibri"/>
                <a:cs typeface="Calibri"/>
              </a:rPr>
              <a:t>!</a:t>
            </a:r>
            <a:endParaRPr sz="9600">
              <a:latin typeface="Calibri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730500" y="1418335"/>
            <a:ext cx="4902200" cy="130429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73355" marR="324485">
              <a:lnSpc>
                <a:spcPct val="91500"/>
              </a:lnSpc>
              <a:spcBef>
                <a:spcPts val="280"/>
              </a:spcBef>
            </a:pPr>
            <a:r>
              <a:rPr sz="1800" spc="-10" dirty="0">
                <a:latin typeface="Calibri"/>
                <a:cs typeface="Calibri"/>
              </a:rPr>
              <a:t>договор подряда (должно </a:t>
            </a:r>
            <a:r>
              <a:rPr sz="1800" dirty="0">
                <a:latin typeface="Calibri"/>
                <a:cs typeface="Calibri"/>
              </a:rPr>
              <a:t>быть </a:t>
            </a:r>
            <a:r>
              <a:rPr sz="1800" spc="-10" dirty="0">
                <a:latin typeface="Calibri"/>
                <a:cs typeface="Calibri"/>
              </a:rPr>
              <a:t>условие </a:t>
            </a:r>
            <a:r>
              <a:rPr sz="1800" spc="-5" dirty="0">
                <a:latin typeface="Calibri"/>
                <a:cs typeface="Calibri"/>
              </a:rPr>
              <a:t>об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язанности КИ </a:t>
            </a:r>
            <a:r>
              <a:rPr sz="1800" spc="-10" dirty="0">
                <a:latin typeface="Calibri"/>
                <a:cs typeface="Calibri"/>
              </a:rPr>
              <a:t>представлять </a:t>
            </a:r>
            <a:r>
              <a:rPr sz="1800" dirty="0">
                <a:latin typeface="Calibri"/>
                <a:cs typeface="Calibri"/>
              </a:rPr>
              <a:t>без 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доверенности документы, </a:t>
            </a:r>
            <a:r>
              <a:rPr sz="1800" spc="-15" dirty="0">
                <a:latin typeface="Calibri"/>
                <a:cs typeface="Calibri"/>
              </a:rPr>
              <a:t>подготовленные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результате</a:t>
            </a:r>
            <a:r>
              <a:rPr sz="1800" spc="-3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ыполнения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кадастровых</a:t>
            </a:r>
            <a:r>
              <a:rPr sz="1800" spc="-20" dirty="0">
                <a:latin typeface="Calibri"/>
                <a:cs typeface="Calibri"/>
              </a:rPr>
              <a:t> работ,</a:t>
            </a:r>
            <a:r>
              <a:rPr sz="1800" spc="-3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ts val="1980"/>
              </a:lnSpc>
              <a:tabLst>
                <a:tab pos="4888865" algn="l"/>
              </a:tabLst>
            </a:pPr>
            <a:r>
              <a:rPr sz="1800" u="heavy" dirty="0">
                <a:uFill>
                  <a:solidFill>
                    <a:srgbClr val="4F81BC"/>
                  </a:solidFill>
                </a:uFill>
                <a:latin typeface="Times New Roman"/>
                <a:cs typeface="Times New Roman"/>
              </a:rPr>
              <a:t>  </a:t>
            </a:r>
            <a:r>
              <a:rPr sz="1800" u="heavy" spc="-85" dirty="0">
                <a:uFill>
                  <a:solidFill>
                    <a:srgbClr val="4F81BC"/>
                  </a:solidFill>
                </a:uFill>
                <a:latin typeface="Times New Roman"/>
                <a:cs typeface="Times New Roman"/>
              </a:rPr>
              <a:t> </a:t>
            </a:r>
            <a:r>
              <a:rPr sz="1800" u="heavy" spc="-5" dirty="0">
                <a:uFill>
                  <a:solidFill>
                    <a:srgbClr val="4F81BC"/>
                  </a:solidFill>
                </a:uFill>
                <a:latin typeface="Calibri"/>
                <a:cs typeface="Calibri"/>
              </a:rPr>
              <a:t>ОРП)	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743200" y="4063365"/>
            <a:ext cx="4876800" cy="0"/>
          </a:xfrm>
          <a:custGeom>
            <a:avLst/>
            <a:gdLst/>
            <a:ahLst/>
            <a:cxnLst/>
            <a:rect l="l" t="t" r="r" b="b"/>
            <a:pathLst>
              <a:path w="4876800">
                <a:moveTo>
                  <a:pt x="0" y="0"/>
                </a:moveTo>
                <a:lnTo>
                  <a:pt x="4876800" y="0"/>
                </a:lnTo>
              </a:path>
            </a:pathLst>
          </a:custGeom>
          <a:ln w="2540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891154" y="3002026"/>
            <a:ext cx="4583430" cy="2259965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2700" marR="5080">
              <a:lnSpc>
                <a:spcPct val="91500"/>
              </a:lnSpc>
              <a:spcBef>
                <a:spcPts val="280"/>
              </a:spcBef>
            </a:pPr>
            <a:r>
              <a:rPr sz="1800" spc="-5" dirty="0">
                <a:latin typeface="Calibri"/>
                <a:cs typeface="Calibri"/>
              </a:rPr>
              <a:t>справка </a:t>
            </a:r>
            <a:r>
              <a:rPr sz="1800" dirty="0">
                <a:latin typeface="Calibri"/>
                <a:cs typeface="Calibri"/>
              </a:rPr>
              <a:t>с </a:t>
            </a:r>
            <a:r>
              <a:rPr sz="1800" spc="-5" dirty="0">
                <a:latin typeface="Calibri"/>
                <a:cs typeface="Calibri"/>
              </a:rPr>
              <a:t>места работы, </a:t>
            </a:r>
            <a:r>
              <a:rPr sz="1800" spc="-10" dirty="0">
                <a:latin typeface="Calibri"/>
                <a:cs typeface="Calibri"/>
              </a:rPr>
              <a:t>подтверждающая, что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КИ </a:t>
            </a:r>
            <a:r>
              <a:rPr sz="1800" spc="-10" dirty="0">
                <a:latin typeface="Calibri"/>
                <a:cs typeface="Calibri"/>
              </a:rPr>
              <a:t>является работником </a:t>
            </a:r>
            <a:r>
              <a:rPr sz="1800" spc="-5" dirty="0">
                <a:latin typeface="Calibri"/>
                <a:cs typeface="Calibri"/>
              </a:rPr>
              <a:t>юридического </a:t>
            </a:r>
            <a:r>
              <a:rPr sz="1800" dirty="0">
                <a:latin typeface="Calibri"/>
                <a:cs typeface="Calibri"/>
              </a:rPr>
              <a:t>лица, 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если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КИ</a:t>
            </a:r>
            <a:r>
              <a:rPr sz="1800" spc="-10" dirty="0">
                <a:latin typeface="Calibri"/>
                <a:cs typeface="Calibri"/>
              </a:rPr>
              <a:t> являетс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работником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ЮЛ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800">
              <a:latin typeface="Calibri"/>
              <a:cs typeface="Calibri"/>
            </a:endParaRPr>
          </a:p>
          <a:p>
            <a:pPr marL="12700" marR="150495">
              <a:lnSpc>
                <a:spcPct val="91500"/>
              </a:lnSpc>
              <a:spcBef>
                <a:spcPts val="1380"/>
              </a:spcBef>
            </a:pPr>
            <a:r>
              <a:rPr sz="1800" spc="-10" dirty="0">
                <a:latin typeface="Calibri"/>
                <a:cs typeface="Calibri"/>
              </a:rPr>
              <a:t>документы, свидетельствующие </a:t>
            </a:r>
            <a:r>
              <a:rPr sz="1800" dirty="0">
                <a:latin typeface="Calibri"/>
                <a:cs typeface="Calibri"/>
              </a:rPr>
              <a:t>о </a:t>
            </a:r>
            <a:r>
              <a:rPr sz="1800" spc="-5" dirty="0">
                <a:latin typeface="Calibri"/>
                <a:cs typeface="Calibri"/>
              </a:rPr>
              <a:t>приемке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аказчиком </a:t>
            </a:r>
            <a:r>
              <a:rPr sz="1800" spc="-20" dirty="0">
                <a:latin typeface="Calibri"/>
                <a:cs typeface="Calibri"/>
              </a:rPr>
              <a:t>результатов </a:t>
            </a:r>
            <a:r>
              <a:rPr sz="1800" spc="-5" dirty="0">
                <a:latin typeface="Calibri"/>
                <a:cs typeface="Calibri"/>
              </a:rPr>
              <a:t>кадастровых работ </a:t>
            </a:r>
            <a:r>
              <a:rPr sz="1800" dirty="0">
                <a:latin typeface="Calibri"/>
                <a:cs typeface="Calibri"/>
              </a:rPr>
              <a:t>и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его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согласи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 </a:t>
            </a:r>
            <a:r>
              <a:rPr sz="1800" spc="-15" dirty="0">
                <a:latin typeface="Calibri"/>
                <a:cs typeface="Calibri"/>
              </a:rPr>
              <a:t>содержанием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подготовленных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о</a:t>
            </a:r>
            <a:r>
              <a:rPr sz="1800" spc="-20" dirty="0">
                <a:latin typeface="Calibri"/>
                <a:cs typeface="Calibri"/>
              </a:rPr>
              <a:t> результатам</a:t>
            </a:r>
            <a:r>
              <a:rPr sz="1800" spc="-5" dirty="0">
                <a:latin typeface="Calibri"/>
                <a:cs typeface="Calibri"/>
              </a:rPr>
              <a:t> таких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работ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документов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743200" y="5395595"/>
            <a:ext cx="4876800" cy="0"/>
          </a:xfrm>
          <a:custGeom>
            <a:avLst/>
            <a:gdLst/>
            <a:ahLst/>
            <a:cxnLst/>
            <a:rect l="l" t="t" r="r" b="b"/>
            <a:pathLst>
              <a:path w="4876800">
                <a:moveTo>
                  <a:pt x="0" y="0"/>
                </a:moveTo>
                <a:lnTo>
                  <a:pt x="4876800" y="0"/>
                </a:lnTo>
              </a:path>
            </a:pathLst>
          </a:custGeom>
          <a:ln w="2540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8706866" y="6484222"/>
            <a:ext cx="16129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11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20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28650" y="416681"/>
            <a:ext cx="8096606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29615" marR="5080" algn="ctr">
              <a:lnSpc>
                <a:spcPct val="100000"/>
              </a:lnSpc>
              <a:spcBef>
                <a:spcPts val="100"/>
              </a:spcBef>
            </a:pPr>
            <a:r>
              <a:rPr sz="2000" b="1" spc="-5" dirty="0"/>
              <a:t>Особенности осуществления ГКУ </a:t>
            </a:r>
            <a:r>
              <a:rPr sz="2000" b="1" dirty="0"/>
              <a:t>и </a:t>
            </a:r>
            <a:r>
              <a:rPr sz="2000" b="1" spc="-5" dirty="0"/>
              <a:t>ГРП при образовании </a:t>
            </a:r>
            <a:r>
              <a:rPr sz="2000" b="1" spc="-530" dirty="0"/>
              <a:t> </a:t>
            </a:r>
            <a:r>
              <a:rPr sz="2000" b="1" dirty="0"/>
              <a:t>объекта</a:t>
            </a:r>
            <a:r>
              <a:rPr sz="2000" b="1" spc="-30" dirty="0"/>
              <a:t> </a:t>
            </a:r>
            <a:r>
              <a:rPr sz="2000" b="1" spc="-10" dirty="0"/>
              <a:t>недвижимости</a:t>
            </a:r>
            <a:r>
              <a:rPr sz="2000" b="1" dirty="0"/>
              <a:t> </a:t>
            </a:r>
            <a:r>
              <a:rPr sz="2000" b="1" spc="-5" dirty="0"/>
              <a:t>(изменения</a:t>
            </a:r>
            <a:r>
              <a:rPr sz="2000" b="1" spc="15" dirty="0"/>
              <a:t> </a:t>
            </a:r>
            <a:r>
              <a:rPr sz="2000" b="1" dirty="0"/>
              <a:t>в </a:t>
            </a:r>
            <a:r>
              <a:rPr sz="2000" b="1" spc="-5" dirty="0"/>
              <a:t>статью</a:t>
            </a:r>
            <a:r>
              <a:rPr sz="2000" b="1" spc="-10" dirty="0"/>
              <a:t> </a:t>
            </a:r>
            <a:r>
              <a:rPr sz="2000" b="1" spc="-5" dirty="0"/>
              <a:t>41)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2</a:t>
            </a:fld>
            <a:endParaRPr spc="-5" dirty="0"/>
          </a:p>
        </p:txBody>
      </p:sp>
      <p:sp>
        <p:nvSpPr>
          <p:cNvPr id="5" name="object 5"/>
          <p:cNvSpPr txBox="1"/>
          <p:nvPr/>
        </p:nvSpPr>
        <p:spPr>
          <a:xfrm>
            <a:off x="834644" y="1215009"/>
            <a:ext cx="7713345" cy="46901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76835" indent="354965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1.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няти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рекращение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рав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исходные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ъекты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существляется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дновременно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РП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 все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бразуемые,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за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сключением:</a:t>
            </a:r>
            <a:endParaRPr sz="1800" dirty="0">
              <a:latin typeface="Calibri"/>
              <a:cs typeface="Calibri"/>
            </a:endParaRPr>
          </a:p>
          <a:p>
            <a:pPr marL="12700" marR="228600">
              <a:lnSpc>
                <a:spcPct val="100000"/>
              </a:lnSpc>
              <a:buChar char="-"/>
              <a:tabLst>
                <a:tab pos="367665" algn="l"/>
                <a:tab pos="368300" algn="l"/>
              </a:tabLst>
            </a:pPr>
            <a:r>
              <a:rPr sz="1800" dirty="0">
                <a:latin typeface="Calibri"/>
                <a:cs typeface="Calibri"/>
              </a:rPr>
              <a:t>если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ответствии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ФЗ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т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13.07.2015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N </a:t>
            </a:r>
            <a:r>
              <a:rPr sz="1800" spc="-5" dirty="0">
                <a:latin typeface="Calibri"/>
                <a:cs typeface="Calibri"/>
              </a:rPr>
              <a:t>218-ФЗ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существляется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без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дновременной</a:t>
            </a:r>
            <a:r>
              <a:rPr sz="1800" spc="-5" dirty="0">
                <a:latin typeface="Calibri"/>
                <a:cs typeface="Calibri"/>
              </a:rPr>
              <a:t> ГРП;</a:t>
            </a:r>
            <a:endParaRPr sz="1800" dirty="0">
              <a:latin typeface="Calibri"/>
              <a:cs typeface="Calibri"/>
            </a:endParaRPr>
          </a:p>
          <a:p>
            <a:pPr marL="12700" marR="112395">
              <a:lnSpc>
                <a:spcPct val="100000"/>
              </a:lnSpc>
              <a:buChar char="-"/>
              <a:tabLst>
                <a:tab pos="367665" algn="l"/>
                <a:tab pos="368300" algn="l"/>
              </a:tabLst>
            </a:pP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змененных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ов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результат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ыдела</a:t>
            </a:r>
            <a:r>
              <a:rPr sz="1800" spc="-3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доли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тур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чет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доли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раве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щей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бственности</a:t>
            </a:r>
            <a:r>
              <a:rPr sz="1800" spc="4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раздела</a:t>
            </a:r>
            <a:r>
              <a:rPr sz="1800" spc="-2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земельного</a:t>
            </a:r>
            <a:r>
              <a:rPr sz="1800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участка,</a:t>
            </a:r>
            <a:endParaRPr sz="1800" dirty="0">
              <a:latin typeface="Calibri"/>
              <a:cs typeface="Calibri"/>
            </a:endParaRPr>
          </a:p>
          <a:p>
            <a:pPr marL="12700" marR="909955">
              <a:lnSpc>
                <a:spcPct val="100000"/>
              </a:lnSpc>
            </a:pPr>
            <a:r>
              <a:rPr sz="1800" spc="-15" dirty="0">
                <a:solidFill>
                  <a:srgbClr val="FF0000"/>
                </a:solidFill>
                <a:latin typeface="Calibri"/>
                <a:cs typeface="Calibri"/>
              </a:rPr>
              <a:t>находящегося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в</a:t>
            </a:r>
            <a:r>
              <a:rPr sz="1800" spc="3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5" dirty="0">
                <a:solidFill>
                  <a:srgbClr val="FF0000"/>
                </a:solidFill>
                <a:latin typeface="Calibri"/>
                <a:cs typeface="Calibri"/>
              </a:rPr>
              <a:t>государственной</a:t>
            </a:r>
            <a:r>
              <a:rPr sz="1800" spc="3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или</a:t>
            </a:r>
            <a:r>
              <a:rPr sz="1800" spc="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муниципальной</a:t>
            </a:r>
            <a:r>
              <a:rPr sz="1800" spc="4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собственности, </a:t>
            </a:r>
            <a:r>
              <a:rPr sz="1800" spc="-39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перераспределения</a:t>
            </a:r>
            <a:r>
              <a:rPr sz="1800" spc="-3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земельного</a:t>
            </a:r>
            <a:r>
              <a:rPr sz="1800" spc="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участка,</a:t>
            </a:r>
            <a:r>
              <a:rPr sz="1800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5" dirty="0">
                <a:solidFill>
                  <a:srgbClr val="FF0000"/>
                </a:solidFill>
                <a:latin typeface="Calibri"/>
                <a:cs typeface="Calibri"/>
              </a:rPr>
              <a:t>находящегося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в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 частной</a:t>
            </a:r>
            <a:endParaRPr sz="1800" dirty="0">
              <a:latin typeface="Calibri"/>
              <a:cs typeface="Calibri"/>
            </a:endParaRPr>
          </a:p>
          <a:p>
            <a:pPr marL="12700" marR="331470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собственности</a:t>
            </a:r>
            <a:r>
              <a:rPr sz="1800" spc="-5" dirty="0">
                <a:latin typeface="Calibri"/>
                <a:cs typeface="Calibri"/>
              </a:rPr>
              <a:t>,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астка,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находящегося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государственной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муниципальной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бственности,</a:t>
            </a:r>
            <a:r>
              <a:rPr sz="1800" spc="4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а </a:t>
            </a:r>
            <a:r>
              <a:rPr sz="1800" spc="-10" dirty="0">
                <a:latin typeface="Calibri"/>
                <a:cs typeface="Calibri"/>
              </a:rPr>
              <a:t>также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20" dirty="0">
                <a:latin typeface="Calibri"/>
                <a:cs typeface="Calibri"/>
              </a:rPr>
              <a:t>результате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раздела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участка,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предоставленного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адоводческому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огородническому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некоммерческому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товариществу,</a:t>
            </a:r>
            <a:r>
              <a:rPr sz="1800" spc="4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результате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торых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такие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е</a:t>
            </a:r>
            <a:endParaRPr sz="1800" dirty="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участки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храняются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змененных</a:t>
            </a:r>
            <a:r>
              <a:rPr sz="1800" spc="3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раницах,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существляется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дновременно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РП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 </a:t>
            </a:r>
            <a:r>
              <a:rPr sz="1800" spc="-10" dirty="0">
                <a:latin typeface="Calibri"/>
                <a:cs typeface="Calibri"/>
              </a:rPr>
              <a:t>земельные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астки,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разованные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з </a:t>
            </a:r>
            <a:r>
              <a:rPr sz="1800" spc="-5" dirty="0">
                <a:latin typeface="Calibri"/>
                <a:cs typeface="Calibri"/>
              </a:rPr>
              <a:t>указанных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участков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+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ч.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19 </a:t>
            </a:r>
            <a:r>
              <a:rPr sz="1800" spc="-30" dirty="0">
                <a:latin typeface="Calibri"/>
                <a:cs typeface="Calibri"/>
              </a:rPr>
              <a:t>ст.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41)</a:t>
            </a:r>
          </a:p>
          <a:p>
            <a:pPr marL="12700" marR="53975" indent="354965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2.</a:t>
            </a:r>
            <a:r>
              <a:rPr sz="1800" spc="-10" dirty="0">
                <a:latin typeface="Calibri"/>
                <a:cs typeface="Calibri"/>
              </a:rPr>
              <a:t> Объеден</a:t>
            </a:r>
            <a:r>
              <a:rPr sz="1800" dirty="0">
                <a:latin typeface="Calibri"/>
                <a:cs typeface="Calibri"/>
              </a:rPr>
              <a:t> в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одну</a:t>
            </a:r>
            <a:r>
              <a:rPr sz="1800" spc="-5" dirty="0">
                <a:latin typeface="Calibri"/>
                <a:cs typeface="Calibri"/>
              </a:rPr>
              <a:t> часть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татьи</a:t>
            </a:r>
            <a:r>
              <a:rPr sz="1800" spc="3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еречень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документов-оснований</a:t>
            </a:r>
            <a:r>
              <a:rPr sz="1800" dirty="0">
                <a:latin typeface="Calibri"/>
                <a:cs typeface="Calibri"/>
              </a:rPr>
              <a:t> для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или) ГРП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часть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8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ст.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41).</a:t>
            </a:r>
          </a:p>
        </p:txBody>
      </p:sp>
    </p:spTree>
    <p:extLst>
      <p:ext uri="{BB962C8B-B14F-4D97-AF65-F5344CB8AC3E}">
        <p14:creationId xmlns:p14="http://schemas.microsoft.com/office/powerpoint/2010/main" val="1139555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28650" y="418416"/>
            <a:ext cx="800646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29615" marR="5080" indent="62230" algn="ctr">
              <a:lnSpc>
                <a:spcPct val="100000"/>
              </a:lnSpc>
              <a:spcBef>
                <a:spcPts val="100"/>
              </a:spcBef>
            </a:pPr>
            <a:r>
              <a:rPr sz="2400" b="1" spc="-5" dirty="0"/>
              <a:t>Особенности осуществления ГКУ </a:t>
            </a:r>
            <a:r>
              <a:rPr sz="2400" b="1" dirty="0"/>
              <a:t>и </a:t>
            </a:r>
            <a:r>
              <a:rPr sz="2400" b="1" spc="-10" dirty="0"/>
              <a:t>ГРП </a:t>
            </a:r>
            <a:r>
              <a:rPr sz="2400" b="1" dirty="0"/>
              <a:t>при </a:t>
            </a:r>
            <a:r>
              <a:rPr sz="2400" b="1" spc="-5" dirty="0"/>
              <a:t>образовании </a:t>
            </a:r>
            <a:r>
              <a:rPr sz="2400" b="1" spc="-530" dirty="0"/>
              <a:t> </a:t>
            </a:r>
            <a:r>
              <a:rPr sz="2400" b="1" dirty="0"/>
              <a:t>объекта</a:t>
            </a:r>
            <a:r>
              <a:rPr sz="2400" b="1" spc="-30" dirty="0"/>
              <a:t> </a:t>
            </a:r>
            <a:r>
              <a:rPr sz="2400" b="1" spc="-10" dirty="0"/>
              <a:t>недвижимости</a:t>
            </a:r>
            <a:r>
              <a:rPr sz="2400" b="1" dirty="0"/>
              <a:t> </a:t>
            </a:r>
            <a:r>
              <a:rPr sz="2400" b="1" spc="-5" dirty="0"/>
              <a:t>(изменения</a:t>
            </a:r>
            <a:r>
              <a:rPr sz="2400" b="1" spc="15" dirty="0"/>
              <a:t> </a:t>
            </a:r>
            <a:r>
              <a:rPr sz="2400" b="1" dirty="0"/>
              <a:t>в </a:t>
            </a:r>
            <a:r>
              <a:rPr sz="2400" b="1" spc="-5" dirty="0"/>
              <a:t>статью</a:t>
            </a:r>
            <a:r>
              <a:rPr sz="2400" b="1" spc="-10" dirty="0"/>
              <a:t> </a:t>
            </a:r>
            <a:r>
              <a:rPr sz="2400" b="1" spc="-5" dirty="0"/>
              <a:t>41)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3</a:t>
            </a:fld>
            <a:endParaRPr spc="-5" dirty="0"/>
          </a:p>
        </p:txBody>
      </p:sp>
      <p:sp>
        <p:nvSpPr>
          <p:cNvPr id="5" name="object 5"/>
          <p:cNvSpPr txBox="1"/>
          <p:nvPr/>
        </p:nvSpPr>
        <p:spPr>
          <a:xfrm>
            <a:off x="905967" y="1344929"/>
            <a:ext cx="7713345" cy="38671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228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3.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ведена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ч.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18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ст.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41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– новое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нование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для</a:t>
            </a:r>
            <a:r>
              <a:rPr sz="1800" spc="-2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нятия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участков: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астки,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торы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разованы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утем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ерераспределения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земель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ов,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находящихся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государственной</a:t>
            </a:r>
            <a:r>
              <a:rPr sz="1800" spc="4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</a:p>
          <a:p>
            <a:pPr marL="12700" marR="5080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муниципальной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бственности,</a:t>
            </a:r>
            <a:r>
              <a:rPr sz="1800" spc="4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астка,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находящегося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ной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бственности,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новании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решения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Г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МС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тверждении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схемы </a:t>
            </a:r>
            <a:r>
              <a:rPr sz="1800" spc="-10" dirty="0">
                <a:latin typeface="Calibri"/>
                <a:cs typeface="Calibri"/>
              </a:rPr>
              <a:t> расположения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а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согласия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Г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 </a:t>
            </a:r>
            <a:r>
              <a:rPr sz="1800" spc="-5" dirty="0">
                <a:latin typeface="Calibri"/>
                <a:cs typeface="Calibri"/>
              </a:rPr>
              <a:t>ОМС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 </a:t>
            </a:r>
            <a:r>
              <a:rPr sz="1800" spc="-5" dirty="0">
                <a:latin typeface="Calibri"/>
                <a:cs typeface="Calibri"/>
              </a:rPr>
              <a:t>заключение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глашени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о</a:t>
            </a:r>
            <a:r>
              <a:rPr sz="1800" spc="-5" dirty="0">
                <a:latin typeface="Calibri"/>
                <a:cs typeface="Calibri"/>
              </a:rPr>
              <a:t> перераспределени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ов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10" dirty="0">
                <a:latin typeface="Calibri"/>
                <a:cs typeface="Calibri"/>
              </a:rPr>
              <a:t>соответствии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</a:p>
          <a:p>
            <a:pPr marL="12700" marR="869950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latin typeface="Calibri"/>
                <a:cs typeface="Calibri"/>
              </a:rPr>
              <a:t>утвержденным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МТ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рава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торы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е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зарегистрированы</a:t>
            </a:r>
            <a:r>
              <a:rPr sz="1800" spc="4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ЕГРН,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нимаются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ГКУ:</a:t>
            </a:r>
            <a:endParaRPr sz="1800" dirty="0">
              <a:latin typeface="Calibri"/>
              <a:cs typeface="Calibri"/>
            </a:endParaRPr>
          </a:p>
          <a:p>
            <a:pPr marL="698500" indent="-236854">
              <a:lnSpc>
                <a:spcPct val="100000"/>
              </a:lnSpc>
              <a:buAutoNum type="arabicParenR"/>
              <a:tabLst>
                <a:tab pos="699135" algn="l"/>
              </a:tabLst>
            </a:pPr>
            <a:r>
              <a:rPr sz="1800" i="1" dirty="0">
                <a:latin typeface="Calibri"/>
                <a:cs typeface="Calibri"/>
              </a:rPr>
              <a:t>по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истечении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трех</a:t>
            </a:r>
            <a:r>
              <a:rPr sz="1800" i="1" spc="-1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лет</a:t>
            </a:r>
            <a:r>
              <a:rPr sz="1800" i="1" spc="-5" dirty="0">
                <a:latin typeface="Calibri"/>
                <a:cs typeface="Calibri"/>
              </a:rPr>
              <a:t> со</a:t>
            </a:r>
            <a:r>
              <a:rPr sz="1800" i="1" dirty="0">
                <a:latin typeface="Calibri"/>
                <a:cs typeface="Calibri"/>
              </a:rPr>
              <a:t> дня </a:t>
            </a:r>
            <a:r>
              <a:rPr sz="1800" i="1" spc="-5" dirty="0">
                <a:latin typeface="Calibri"/>
                <a:cs typeface="Calibri"/>
              </a:rPr>
              <a:t>осуществления их ГКУ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по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решению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i="1" spc="-5" dirty="0">
                <a:latin typeface="Calibri"/>
                <a:cs typeface="Calibri"/>
              </a:rPr>
              <a:t>государственного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регистратора прав;</a:t>
            </a:r>
            <a:endParaRPr sz="1800" dirty="0">
              <a:latin typeface="Calibri"/>
              <a:cs typeface="Calibri"/>
            </a:endParaRPr>
          </a:p>
          <a:p>
            <a:pPr marL="12700" marR="111760" indent="449580">
              <a:lnSpc>
                <a:spcPct val="100000"/>
              </a:lnSpc>
              <a:buAutoNum type="arabicParenR" startAt="2"/>
              <a:tabLst>
                <a:tab pos="699135" algn="l"/>
              </a:tabLst>
            </a:pPr>
            <a:r>
              <a:rPr sz="1800" i="1" dirty="0">
                <a:latin typeface="Calibri"/>
                <a:cs typeface="Calibri"/>
              </a:rPr>
              <a:t>до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истечения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трех </a:t>
            </a:r>
            <a:r>
              <a:rPr sz="1800" i="1" dirty="0">
                <a:latin typeface="Calibri"/>
                <a:cs typeface="Calibri"/>
              </a:rPr>
              <a:t>лет</a:t>
            </a:r>
            <a:r>
              <a:rPr sz="1800" i="1" spc="-5" dirty="0">
                <a:latin typeface="Calibri"/>
                <a:cs typeface="Calibri"/>
              </a:rPr>
              <a:t> со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дня </a:t>
            </a:r>
            <a:r>
              <a:rPr sz="1800" i="1" spc="-5" dirty="0">
                <a:latin typeface="Calibri"/>
                <a:cs typeface="Calibri"/>
              </a:rPr>
              <a:t>осуществления</a:t>
            </a:r>
            <a:r>
              <a:rPr sz="1800" i="1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их ГКУ</a:t>
            </a:r>
            <a:r>
              <a:rPr sz="1800" i="1" spc="3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по </a:t>
            </a:r>
            <a:r>
              <a:rPr sz="1800" i="1" spc="-10" dirty="0">
                <a:latin typeface="Calibri"/>
                <a:cs typeface="Calibri"/>
              </a:rPr>
              <a:t>заявлению </a:t>
            </a:r>
            <a:r>
              <a:rPr sz="1800" i="1" spc="-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лица,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на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основании</a:t>
            </a:r>
            <a:r>
              <a:rPr sz="1800" i="1" spc="2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заявления</a:t>
            </a:r>
            <a:r>
              <a:rPr sz="1800" i="1" spc="-5" dirty="0">
                <a:latin typeface="Calibri"/>
                <a:cs typeface="Calibri"/>
              </a:rPr>
              <a:t> которого</a:t>
            </a:r>
            <a:r>
              <a:rPr sz="1800" i="1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ГКУ</a:t>
            </a:r>
            <a:r>
              <a:rPr sz="1800" i="1" spc="2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таких</a:t>
            </a:r>
            <a:r>
              <a:rPr sz="1800" i="1" spc="-1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земельных участков</a:t>
            </a:r>
            <a:r>
              <a:rPr sz="1800" i="1" spc="1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был </a:t>
            </a:r>
            <a:r>
              <a:rPr sz="1800" i="1" spc="-39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осуществлен,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либо </a:t>
            </a:r>
            <a:r>
              <a:rPr sz="1800" i="1" dirty="0">
                <a:latin typeface="Calibri"/>
                <a:cs typeface="Calibri"/>
              </a:rPr>
              <a:t>по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заявлению</a:t>
            </a:r>
            <a:r>
              <a:rPr sz="1800" i="1" dirty="0">
                <a:latin typeface="Calibri"/>
                <a:cs typeface="Calibri"/>
              </a:rPr>
              <a:t> любого</a:t>
            </a:r>
            <a:r>
              <a:rPr sz="1800" i="1" spc="-10" dirty="0">
                <a:latin typeface="Calibri"/>
                <a:cs typeface="Calibri"/>
              </a:rPr>
              <a:t> лица</a:t>
            </a:r>
            <a:r>
              <a:rPr sz="1800" i="1" spc="-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на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основании</a:t>
            </a:r>
            <a:r>
              <a:rPr sz="1800" i="1" spc="2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решения суда.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7902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28650" y="467501"/>
            <a:ext cx="78867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29615" marR="5080" indent="62230" algn="ctr">
              <a:lnSpc>
                <a:spcPct val="100000"/>
              </a:lnSpc>
              <a:spcBef>
                <a:spcPts val="100"/>
              </a:spcBef>
            </a:pPr>
            <a:r>
              <a:rPr sz="2400" b="1" spc="-5" dirty="0"/>
              <a:t>Особенности осуществления ГКУ </a:t>
            </a:r>
            <a:r>
              <a:rPr sz="2400" b="1" dirty="0"/>
              <a:t>и </a:t>
            </a:r>
            <a:r>
              <a:rPr sz="2400" b="1" spc="-10" dirty="0"/>
              <a:t>ГРП </a:t>
            </a:r>
            <a:r>
              <a:rPr sz="2400" b="1" dirty="0"/>
              <a:t>при </a:t>
            </a:r>
            <a:r>
              <a:rPr sz="2400" b="1" spc="-5" dirty="0"/>
              <a:t>образовании </a:t>
            </a:r>
            <a:r>
              <a:rPr sz="2400" b="1" spc="-530" dirty="0"/>
              <a:t> </a:t>
            </a:r>
            <a:r>
              <a:rPr sz="2400" b="1" dirty="0"/>
              <a:t>объекта</a:t>
            </a:r>
            <a:r>
              <a:rPr sz="2400" b="1" spc="-30" dirty="0"/>
              <a:t> </a:t>
            </a:r>
            <a:r>
              <a:rPr sz="2400" b="1" spc="-10" dirty="0" err="1"/>
              <a:t>недвижимости</a:t>
            </a:r>
            <a:r>
              <a:rPr sz="2400" b="1" dirty="0"/>
              <a:t> </a:t>
            </a:r>
            <a:r>
              <a:rPr lang="ru-RU" sz="2400" b="1" dirty="0" smtClean="0"/>
              <a:t/>
            </a:r>
            <a:br>
              <a:rPr lang="ru-RU" sz="2400" b="1" dirty="0" smtClean="0"/>
            </a:br>
            <a:r>
              <a:rPr sz="2400" b="1" spc="-5" dirty="0" smtClean="0"/>
              <a:t>(</a:t>
            </a:r>
            <a:r>
              <a:rPr sz="2400" b="1" spc="-5" dirty="0"/>
              <a:t>изменения</a:t>
            </a:r>
            <a:r>
              <a:rPr sz="2400" b="1" spc="15" dirty="0"/>
              <a:t> </a:t>
            </a:r>
            <a:r>
              <a:rPr sz="2400" b="1" dirty="0"/>
              <a:t>в </a:t>
            </a:r>
            <a:r>
              <a:rPr sz="2400" b="1" spc="-5" dirty="0"/>
              <a:t>статью</a:t>
            </a:r>
            <a:r>
              <a:rPr sz="2400" b="1" spc="-10" dirty="0"/>
              <a:t> </a:t>
            </a:r>
            <a:r>
              <a:rPr sz="2400" b="1" spc="-5" dirty="0"/>
              <a:t>41)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4</a:t>
            </a:fld>
            <a:endParaRPr spc="-5" dirty="0"/>
          </a:p>
        </p:txBody>
      </p:sp>
      <p:sp>
        <p:nvSpPr>
          <p:cNvPr id="5" name="object 5"/>
          <p:cNvSpPr txBox="1"/>
          <p:nvPr/>
        </p:nvSpPr>
        <p:spPr>
          <a:xfrm>
            <a:off x="717848" y="1502409"/>
            <a:ext cx="8039590" cy="25186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448945" algn="just">
              <a:lnSpc>
                <a:spcPct val="100000"/>
              </a:lnSpc>
              <a:spcBef>
                <a:spcPts val="100"/>
              </a:spcBef>
            </a:pPr>
            <a:endParaRPr lang="ru-RU" sz="1800" spc="-5" dirty="0" smtClean="0">
              <a:latin typeface="Calibri"/>
              <a:cs typeface="Calibri"/>
            </a:endParaRPr>
          </a:p>
          <a:p>
            <a:pPr marL="12700" marR="5080" indent="448945" algn="just">
              <a:lnSpc>
                <a:spcPct val="100000"/>
              </a:lnSpc>
              <a:spcBef>
                <a:spcPts val="100"/>
              </a:spcBef>
            </a:pPr>
            <a:r>
              <a:rPr sz="1800" spc="-5" dirty="0" smtClean="0">
                <a:latin typeface="Calibri"/>
                <a:cs typeface="Calibri"/>
              </a:rPr>
              <a:t>4</a:t>
            </a:r>
            <a:r>
              <a:rPr sz="1800" spc="-5" dirty="0">
                <a:latin typeface="Calibri"/>
                <a:cs typeface="Calibri"/>
              </a:rPr>
              <a:t>. </a:t>
            </a:r>
            <a:r>
              <a:rPr sz="1800" spc="-10" dirty="0">
                <a:latin typeface="Calibri"/>
                <a:cs typeface="Calibri"/>
              </a:rPr>
              <a:t>Введено </a:t>
            </a:r>
            <a:r>
              <a:rPr sz="1800" dirty="0">
                <a:latin typeface="Calibri"/>
                <a:cs typeface="Calibri"/>
              </a:rPr>
              <a:t>новое </a:t>
            </a:r>
            <a:r>
              <a:rPr sz="1800" spc="-5" dirty="0">
                <a:latin typeface="Calibri"/>
                <a:cs typeface="Calibri"/>
              </a:rPr>
              <a:t>основание </a:t>
            </a:r>
            <a:r>
              <a:rPr sz="1800" dirty="0">
                <a:latin typeface="Calibri"/>
                <a:cs typeface="Calibri"/>
              </a:rPr>
              <a:t>для </a:t>
            </a:r>
            <a:r>
              <a:rPr sz="1800" spc="-5" dirty="0">
                <a:latin typeface="Calibri"/>
                <a:cs typeface="Calibri"/>
              </a:rPr>
              <a:t>снятия </a:t>
            </a:r>
            <a:r>
              <a:rPr sz="1800" dirty="0">
                <a:latin typeface="Calibri"/>
                <a:cs typeface="Calibri"/>
              </a:rPr>
              <a:t>с </a:t>
            </a:r>
            <a:r>
              <a:rPr sz="1800" spc="-10" dirty="0">
                <a:latin typeface="Calibri"/>
                <a:cs typeface="Calibri"/>
              </a:rPr>
              <a:t>ГКУ </a:t>
            </a:r>
            <a:r>
              <a:rPr sz="1800" spc="-5" dirty="0">
                <a:latin typeface="Calibri"/>
                <a:cs typeface="Calibri"/>
              </a:rPr>
              <a:t>частей </a:t>
            </a:r>
            <a:r>
              <a:rPr sz="1800" spc="-10" dirty="0">
                <a:latin typeface="Calibri"/>
                <a:cs typeface="Calibri"/>
              </a:rPr>
              <a:t>земельных </a:t>
            </a:r>
            <a:r>
              <a:rPr sz="1800" spc="-5" dirty="0">
                <a:latin typeface="Calibri"/>
                <a:cs typeface="Calibri"/>
              </a:rPr>
              <a:t>участков: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рган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регистрации</a:t>
            </a:r>
            <a:r>
              <a:rPr sz="1800" dirty="0">
                <a:latin typeface="Calibri"/>
                <a:cs typeface="Calibri"/>
              </a:rPr>
              <a:t> пра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о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стечении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тре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лет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о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дня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уществления</a:t>
            </a:r>
            <a:r>
              <a:rPr sz="1800" spc="39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ГКУ 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част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-5" dirty="0">
                <a:latin typeface="Calibri"/>
                <a:cs typeface="Calibri"/>
              </a:rPr>
              <a:t> участк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формированного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н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м</a:t>
            </a:r>
            <a:r>
              <a:rPr sz="1800" spc="-5" dirty="0">
                <a:latin typeface="Calibri"/>
                <a:cs typeface="Calibri"/>
              </a:rPr>
              <a:t> участке,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находящемся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государственной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л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муниципальной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обственности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для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становления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рименительно</a:t>
            </a:r>
            <a:r>
              <a:rPr sz="1800" dirty="0">
                <a:latin typeface="Calibri"/>
                <a:cs typeface="Calibri"/>
              </a:rPr>
              <a:t> к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ей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ервитута,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нимает</a:t>
            </a:r>
            <a:r>
              <a:rPr sz="1800" dirty="0">
                <a:latin typeface="Calibri"/>
                <a:cs typeface="Calibri"/>
              </a:rPr>
              <a:t> с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ГКУ</a:t>
            </a:r>
            <a:r>
              <a:rPr sz="1800" spc="-5" dirty="0">
                <a:latin typeface="Calibri"/>
                <a:cs typeface="Calibri"/>
              </a:rPr>
              <a:t> такую</a:t>
            </a:r>
            <a:r>
              <a:rPr sz="1800" dirty="0">
                <a:latin typeface="Calibri"/>
                <a:cs typeface="Calibri"/>
              </a:rPr>
              <a:t> часть 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-5" dirty="0">
                <a:latin typeface="Calibri"/>
                <a:cs typeface="Calibri"/>
              </a:rPr>
              <a:t> участка,</a:t>
            </a:r>
            <a:r>
              <a:rPr sz="1800" dirty="0">
                <a:latin typeface="Calibri"/>
                <a:cs typeface="Calibri"/>
              </a:rPr>
              <a:t> есл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новании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глашени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5" dirty="0">
                <a:latin typeface="Calibri"/>
                <a:cs typeface="Calibri"/>
              </a:rPr>
              <a:t>об</a:t>
            </a:r>
            <a:r>
              <a:rPr sz="1800" spc="4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становлении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ервитут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не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уществлен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государственная</a:t>
            </a:r>
            <a:r>
              <a:rPr sz="1800" spc="-5" dirty="0">
                <a:latin typeface="Calibri"/>
                <a:cs typeface="Calibri"/>
              </a:rPr>
              <a:t> регистрация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ервитута</a:t>
            </a:r>
            <a:r>
              <a:rPr sz="1800" dirty="0">
                <a:latin typeface="Calibri"/>
                <a:cs typeface="Calibri"/>
              </a:rPr>
              <a:t> в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тношении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такого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а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ч.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19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ст.</a:t>
            </a:r>
            <a:r>
              <a:rPr sz="1800" spc="-5" dirty="0">
                <a:latin typeface="Calibri"/>
                <a:cs typeface="Calibri"/>
              </a:rPr>
              <a:t> 41).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33744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64793" y="221360"/>
            <a:ext cx="753999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26364" algn="ctr">
              <a:lnSpc>
                <a:spcPct val="100000"/>
              </a:lnSpc>
              <a:spcBef>
                <a:spcPts val="100"/>
              </a:spcBef>
              <a:tabLst>
                <a:tab pos="2851150" algn="l"/>
              </a:tabLst>
            </a:pPr>
            <a:r>
              <a:rPr sz="2400" b="1" spc="-5" dirty="0"/>
              <a:t>Особенности осуществления ГКУ при уточнении </a:t>
            </a:r>
            <a:r>
              <a:rPr sz="2400" b="1" dirty="0"/>
              <a:t>границ </a:t>
            </a:r>
            <a:r>
              <a:rPr sz="2400" b="1" spc="-530" dirty="0"/>
              <a:t> </a:t>
            </a:r>
            <a:r>
              <a:rPr sz="2400" b="1" spc="-10" dirty="0"/>
              <a:t>земельных</a:t>
            </a:r>
            <a:r>
              <a:rPr sz="2400" b="1" spc="-5" dirty="0"/>
              <a:t> участков	(изменения</a:t>
            </a:r>
            <a:r>
              <a:rPr sz="2400" b="1" spc="10" dirty="0"/>
              <a:t> </a:t>
            </a:r>
            <a:r>
              <a:rPr sz="2400" b="1" dirty="0"/>
              <a:t>в </a:t>
            </a:r>
            <a:r>
              <a:rPr sz="2400" b="1" spc="-5" dirty="0"/>
              <a:t>статью</a:t>
            </a:r>
            <a:r>
              <a:rPr sz="2400" b="1" spc="-15" dirty="0"/>
              <a:t> </a:t>
            </a:r>
            <a:r>
              <a:rPr sz="2400" b="1" spc="-5" dirty="0"/>
              <a:t>43)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608177" y="1502409"/>
            <a:ext cx="8009890" cy="1671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513715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latin typeface="Calibri"/>
                <a:cs typeface="Calibri"/>
              </a:rPr>
              <a:t>ГКУ </a:t>
            </a:r>
            <a:r>
              <a:rPr sz="1800" b="1" dirty="0">
                <a:latin typeface="Calibri"/>
                <a:cs typeface="Calibri"/>
              </a:rPr>
              <a:t>в </a:t>
            </a:r>
            <a:r>
              <a:rPr sz="1800" b="1" spc="-10" dirty="0">
                <a:latin typeface="Calibri"/>
                <a:cs typeface="Calibri"/>
              </a:rPr>
              <a:t>связи </a:t>
            </a:r>
            <a:r>
              <a:rPr sz="1800" b="1" dirty="0">
                <a:latin typeface="Calibri"/>
                <a:cs typeface="Calibri"/>
              </a:rPr>
              <a:t>с изменением </a:t>
            </a:r>
            <a:r>
              <a:rPr sz="1800" b="1" spc="-5" dirty="0">
                <a:latin typeface="Calibri"/>
                <a:cs typeface="Calibri"/>
              </a:rPr>
              <a:t>описания </a:t>
            </a:r>
            <a:r>
              <a:rPr sz="1800" b="1" spc="-10" dirty="0">
                <a:latin typeface="Calibri"/>
                <a:cs typeface="Calibri"/>
              </a:rPr>
              <a:t>местоположения </a:t>
            </a:r>
            <a:r>
              <a:rPr sz="1800" b="1" dirty="0">
                <a:latin typeface="Calibri"/>
                <a:cs typeface="Calibri"/>
              </a:rPr>
              <a:t>границ </a:t>
            </a:r>
            <a:r>
              <a:rPr sz="1800" b="1" spc="-5" dirty="0">
                <a:latin typeface="Calibri"/>
                <a:cs typeface="Calibri"/>
              </a:rPr>
              <a:t>земельного </a:t>
            </a:r>
            <a:r>
              <a:rPr sz="1800" b="1" dirty="0">
                <a:latin typeface="Calibri"/>
                <a:cs typeface="Calibri"/>
              </a:rPr>
              <a:t> </a:t>
            </a:r>
            <a:r>
              <a:rPr sz="1800" b="1" spc="-10" dirty="0">
                <a:latin typeface="Calibri"/>
                <a:cs typeface="Calibri"/>
              </a:rPr>
              <a:t>участка </a:t>
            </a:r>
            <a:r>
              <a:rPr sz="1800" b="1" dirty="0">
                <a:latin typeface="Calibri"/>
                <a:cs typeface="Calibri"/>
              </a:rPr>
              <a:t>и (или) </a:t>
            </a:r>
            <a:r>
              <a:rPr sz="1800" b="1" spc="-5" dirty="0">
                <a:latin typeface="Calibri"/>
                <a:cs typeface="Calibri"/>
              </a:rPr>
              <a:t>его площади </a:t>
            </a:r>
            <a:r>
              <a:rPr sz="1800" b="1" dirty="0">
                <a:latin typeface="Calibri"/>
                <a:cs typeface="Calibri"/>
              </a:rPr>
              <a:t>(за </a:t>
            </a:r>
            <a:r>
              <a:rPr sz="1800" b="1" spc="-5" dirty="0">
                <a:latin typeface="Calibri"/>
                <a:cs typeface="Calibri"/>
              </a:rPr>
              <a:t>исключением случаев </a:t>
            </a:r>
            <a:r>
              <a:rPr sz="1800" b="1" dirty="0">
                <a:latin typeface="Calibri"/>
                <a:cs typeface="Calibri"/>
              </a:rPr>
              <a:t>образования </a:t>
            </a:r>
            <a:r>
              <a:rPr sz="1800" b="1" spc="-5" dirty="0">
                <a:latin typeface="Calibri"/>
                <a:cs typeface="Calibri"/>
              </a:rPr>
              <a:t>земельного </a:t>
            </a:r>
            <a:r>
              <a:rPr sz="1800" b="1" spc="-395" dirty="0">
                <a:latin typeface="Calibri"/>
                <a:cs typeface="Calibri"/>
              </a:rPr>
              <a:t> </a:t>
            </a:r>
            <a:r>
              <a:rPr sz="1800" b="1" spc="-10" dirty="0">
                <a:latin typeface="Calibri"/>
                <a:cs typeface="Calibri"/>
              </a:rPr>
              <a:t>участка</a:t>
            </a:r>
            <a:r>
              <a:rPr sz="1800" b="1" spc="-15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при </a:t>
            </a:r>
            <a:r>
              <a:rPr sz="1800" b="1" spc="-10" dirty="0">
                <a:latin typeface="Calibri"/>
                <a:cs typeface="Calibri"/>
              </a:rPr>
              <a:t>выделе</a:t>
            </a:r>
            <a:r>
              <a:rPr sz="1800" b="1" spc="-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или </a:t>
            </a:r>
            <a:r>
              <a:rPr sz="1800" b="1" spc="-10" dirty="0">
                <a:latin typeface="Calibri"/>
                <a:cs typeface="Calibri"/>
              </a:rPr>
              <a:t>разделе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с измененным),</a:t>
            </a:r>
            <a:r>
              <a:rPr sz="1800" b="1" spc="-10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осуществляется</a:t>
            </a:r>
            <a:r>
              <a:rPr sz="1800" b="1" spc="-40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при условии: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700">
              <a:latin typeface="Calibri"/>
              <a:cs typeface="Calibri"/>
            </a:endParaRPr>
          </a:p>
          <a:p>
            <a:pPr marR="466090" algn="ctr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или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268601" y="2492375"/>
            <a:ext cx="511175" cy="1005205"/>
            <a:chOff x="2268601" y="2492375"/>
            <a:chExt cx="511175" cy="1005205"/>
          </a:xfrm>
        </p:grpSpPr>
        <p:sp>
          <p:nvSpPr>
            <p:cNvPr id="7" name="object 7"/>
            <p:cNvSpPr/>
            <p:nvPr/>
          </p:nvSpPr>
          <p:spPr>
            <a:xfrm>
              <a:off x="2281301" y="2505075"/>
              <a:ext cx="485775" cy="979805"/>
            </a:xfrm>
            <a:custGeom>
              <a:avLst/>
              <a:gdLst/>
              <a:ahLst/>
              <a:cxnLst/>
              <a:rect l="l" t="t" r="r" b="b"/>
              <a:pathLst>
                <a:path w="485775" h="979804">
                  <a:moveTo>
                    <a:pt x="364236" y="0"/>
                  </a:moveTo>
                  <a:lnTo>
                    <a:pt x="121412" y="0"/>
                  </a:lnTo>
                  <a:lnTo>
                    <a:pt x="121412" y="736600"/>
                  </a:lnTo>
                  <a:lnTo>
                    <a:pt x="0" y="736600"/>
                  </a:lnTo>
                  <a:lnTo>
                    <a:pt x="242824" y="979551"/>
                  </a:lnTo>
                  <a:lnTo>
                    <a:pt x="485775" y="736600"/>
                  </a:lnTo>
                  <a:lnTo>
                    <a:pt x="364236" y="736600"/>
                  </a:lnTo>
                  <a:lnTo>
                    <a:pt x="364236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2281301" y="2505075"/>
              <a:ext cx="485775" cy="979805"/>
            </a:xfrm>
            <a:custGeom>
              <a:avLst/>
              <a:gdLst/>
              <a:ahLst/>
              <a:cxnLst/>
              <a:rect l="l" t="t" r="r" b="b"/>
              <a:pathLst>
                <a:path w="485775" h="979804">
                  <a:moveTo>
                    <a:pt x="0" y="736600"/>
                  </a:moveTo>
                  <a:lnTo>
                    <a:pt x="121412" y="736600"/>
                  </a:lnTo>
                  <a:lnTo>
                    <a:pt x="121412" y="0"/>
                  </a:lnTo>
                  <a:lnTo>
                    <a:pt x="364236" y="0"/>
                  </a:lnTo>
                  <a:lnTo>
                    <a:pt x="364236" y="736600"/>
                  </a:lnTo>
                  <a:lnTo>
                    <a:pt x="485775" y="736600"/>
                  </a:lnTo>
                  <a:lnTo>
                    <a:pt x="242824" y="979551"/>
                  </a:lnTo>
                  <a:lnTo>
                    <a:pt x="0" y="736600"/>
                  </a:lnTo>
                  <a:close/>
                </a:path>
              </a:pathLst>
            </a:custGeom>
            <a:ln w="25400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6215126" y="2497201"/>
            <a:ext cx="511175" cy="1003300"/>
            <a:chOff x="6215126" y="2497201"/>
            <a:chExt cx="511175" cy="1003300"/>
          </a:xfrm>
        </p:grpSpPr>
        <p:sp>
          <p:nvSpPr>
            <p:cNvPr id="10" name="object 10"/>
            <p:cNvSpPr/>
            <p:nvPr/>
          </p:nvSpPr>
          <p:spPr>
            <a:xfrm>
              <a:off x="6227826" y="2509901"/>
              <a:ext cx="485775" cy="977900"/>
            </a:xfrm>
            <a:custGeom>
              <a:avLst/>
              <a:gdLst/>
              <a:ahLst/>
              <a:cxnLst/>
              <a:rect l="l" t="t" r="r" b="b"/>
              <a:pathLst>
                <a:path w="485775" h="977900">
                  <a:moveTo>
                    <a:pt x="364235" y="0"/>
                  </a:moveTo>
                  <a:lnTo>
                    <a:pt x="121412" y="0"/>
                  </a:lnTo>
                  <a:lnTo>
                    <a:pt x="121412" y="734949"/>
                  </a:lnTo>
                  <a:lnTo>
                    <a:pt x="0" y="734949"/>
                  </a:lnTo>
                  <a:lnTo>
                    <a:pt x="242824" y="977900"/>
                  </a:lnTo>
                  <a:lnTo>
                    <a:pt x="485775" y="734949"/>
                  </a:lnTo>
                  <a:lnTo>
                    <a:pt x="364235" y="734949"/>
                  </a:lnTo>
                  <a:lnTo>
                    <a:pt x="364235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6227826" y="2509901"/>
              <a:ext cx="485775" cy="977900"/>
            </a:xfrm>
            <a:custGeom>
              <a:avLst/>
              <a:gdLst/>
              <a:ahLst/>
              <a:cxnLst/>
              <a:rect l="l" t="t" r="r" b="b"/>
              <a:pathLst>
                <a:path w="485775" h="977900">
                  <a:moveTo>
                    <a:pt x="0" y="734949"/>
                  </a:moveTo>
                  <a:lnTo>
                    <a:pt x="121412" y="734949"/>
                  </a:lnTo>
                  <a:lnTo>
                    <a:pt x="121412" y="0"/>
                  </a:lnTo>
                  <a:lnTo>
                    <a:pt x="364235" y="0"/>
                  </a:lnTo>
                  <a:lnTo>
                    <a:pt x="364235" y="734949"/>
                  </a:lnTo>
                  <a:lnTo>
                    <a:pt x="485775" y="734949"/>
                  </a:lnTo>
                  <a:lnTo>
                    <a:pt x="242824" y="977900"/>
                  </a:lnTo>
                  <a:lnTo>
                    <a:pt x="0" y="734949"/>
                  </a:lnTo>
                  <a:close/>
                </a:path>
              </a:pathLst>
            </a:custGeom>
            <a:ln w="25400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938580" y="3509517"/>
            <a:ext cx="3207385" cy="222123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8120" marR="189865" algn="ctr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latin typeface="Calibri"/>
                <a:cs typeface="Calibri"/>
              </a:rPr>
              <a:t>если</a:t>
            </a:r>
            <a:r>
              <a:rPr sz="1600" spc="-5" dirty="0">
                <a:latin typeface="Calibri"/>
                <a:cs typeface="Calibri"/>
              </a:rPr>
              <a:t> такие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изменения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связаны</a:t>
            </a:r>
            <a:r>
              <a:rPr sz="1600" spc="-5" dirty="0">
                <a:latin typeface="Calibri"/>
                <a:cs typeface="Calibri"/>
              </a:rPr>
              <a:t> с </a:t>
            </a:r>
            <a:r>
              <a:rPr sz="1600" spc="-3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точнением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писания</a:t>
            </a:r>
            <a:endParaRPr sz="1600">
              <a:latin typeface="Calibri"/>
              <a:cs typeface="Calibri"/>
            </a:endParaRPr>
          </a:p>
          <a:p>
            <a:pPr marL="12700" marR="5080" algn="ctr">
              <a:lnSpc>
                <a:spcPct val="100000"/>
              </a:lnSpc>
            </a:pPr>
            <a:r>
              <a:rPr sz="1600" spc="-15" dirty="0">
                <a:latin typeface="Calibri"/>
                <a:cs typeface="Calibri"/>
              </a:rPr>
              <a:t>местоположения</a:t>
            </a:r>
            <a:r>
              <a:rPr sz="1600" spc="4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границ </a:t>
            </a:r>
            <a:r>
              <a:rPr sz="1600" spc="-15" dirty="0">
                <a:latin typeface="Calibri"/>
                <a:cs typeface="Calibri"/>
              </a:rPr>
              <a:t>земельного </a:t>
            </a:r>
            <a:r>
              <a:rPr sz="1600" spc="-3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частка,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сведения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о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котором,</a:t>
            </a:r>
            <a:endParaRPr sz="1600">
              <a:latin typeface="Calibri"/>
              <a:cs typeface="Calibri"/>
            </a:endParaRPr>
          </a:p>
          <a:p>
            <a:pPr marL="1905" algn="ctr">
              <a:lnSpc>
                <a:spcPct val="100000"/>
              </a:lnSpc>
            </a:pPr>
            <a:r>
              <a:rPr sz="1600" spc="-15" dirty="0">
                <a:latin typeface="Calibri"/>
                <a:cs typeface="Calibri"/>
              </a:rPr>
              <a:t>содержащиеся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ЕГРН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не</a:t>
            </a:r>
            <a:endParaRPr sz="1600">
              <a:latin typeface="Calibri"/>
              <a:cs typeface="Calibri"/>
            </a:endParaRPr>
          </a:p>
          <a:p>
            <a:pPr marL="41275" marR="34925" indent="2540" algn="ctr">
              <a:lnSpc>
                <a:spcPct val="100200"/>
              </a:lnSpc>
            </a:pPr>
            <a:r>
              <a:rPr sz="1600" spc="-10" dirty="0">
                <a:latin typeface="Calibri"/>
                <a:cs typeface="Calibri"/>
              </a:rPr>
              <a:t>соответствуют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становленным </a:t>
            </a:r>
            <a:r>
              <a:rPr sz="1600" spc="-5" dirty="0">
                <a:latin typeface="Calibri"/>
                <a:cs typeface="Calibri"/>
              </a:rPr>
              <a:t> требованиям к </a:t>
            </a:r>
            <a:r>
              <a:rPr sz="1600" spc="-10" dirty="0">
                <a:latin typeface="Calibri"/>
                <a:cs typeface="Calibri"/>
              </a:rPr>
              <a:t>описанию 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местоположения</a:t>
            </a:r>
            <a:r>
              <a:rPr sz="1600" spc="5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границ </a:t>
            </a:r>
            <a:r>
              <a:rPr sz="1600" spc="-15" dirty="0">
                <a:latin typeface="Calibri"/>
                <a:cs typeface="Calibri"/>
              </a:rPr>
              <a:t>земельных </a:t>
            </a:r>
            <a:r>
              <a:rPr sz="1600" spc="-3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частков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5</a:t>
            </a:fld>
            <a:endParaRPr spc="-5" dirty="0"/>
          </a:p>
        </p:txBody>
      </p:sp>
      <p:sp>
        <p:nvSpPr>
          <p:cNvPr id="13" name="object 13"/>
          <p:cNvSpPr txBox="1"/>
          <p:nvPr/>
        </p:nvSpPr>
        <p:spPr>
          <a:xfrm>
            <a:off x="4765040" y="3633342"/>
            <a:ext cx="3412490" cy="11233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3060" algn="ctr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в</a:t>
            </a:r>
            <a:r>
              <a:rPr sz="1800" spc="-3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содержащемс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5" dirty="0" smtClean="0">
                <a:latin typeface="Calibri"/>
                <a:cs typeface="Calibri"/>
              </a:rPr>
              <a:t>ЕГ</a:t>
            </a:r>
            <a:r>
              <a:rPr lang="ru-RU" sz="1800" spc="-5" smtClean="0">
                <a:latin typeface="Calibri"/>
                <a:cs typeface="Calibri"/>
              </a:rPr>
              <a:t>Р</a:t>
            </a:r>
            <a:r>
              <a:rPr sz="1800" spc="-5" smtClean="0">
                <a:latin typeface="Calibri"/>
                <a:cs typeface="Calibri"/>
              </a:rPr>
              <a:t>Н</a:t>
            </a:r>
            <a:endParaRPr sz="18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описании</a:t>
            </a:r>
            <a:r>
              <a:rPr sz="1800" spc="-2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местоположения </a:t>
            </a:r>
            <a:r>
              <a:rPr sz="1800" dirty="0">
                <a:latin typeface="Calibri"/>
                <a:cs typeface="Calibri"/>
              </a:rPr>
              <a:t>границ</a:t>
            </a:r>
          </a:p>
          <a:p>
            <a:pPr marL="253365" marR="248285" algn="ctr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а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ыявлена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реестровая </a:t>
            </a:r>
            <a:r>
              <a:rPr sz="1800" spc="-10" dirty="0">
                <a:latin typeface="Calibri"/>
                <a:cs typeface="Calibri"/>
              </a:rPr>
              <a:t>ошибка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4761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64793" y="224076"/>
            <a:ext cx="741172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  <a:tabLst>
                <a:tab pos="2851150" algn="l"/>
              </a:tabLst>
            </a:pPr>
            <a:r>
              <a:rPr sz="2400" b="1" spc="-5" dirty="0"/>
              <a:t>Особенности осуществления ГКУ при уточнении </a:t>
            </a:r>
            <a:r>
              <a:rPr sz="2400" b="1" dirty="0"/>
              <a:t>границ </a:t>
            </a:r>
            <a:r>
              <a:rPr sz="2400" b="1" spc="-530" dirty="0"/>
              <a:t> </a:t>
            </a:r>
            <a:r>
              <a:rPr sz="2400" b="1" spc="-10" dirty="0"/>
              <a:t>земельных</a:t>
            </a:r>
            <a:r>
              <a:rPr sz="2400" b="1" spc="-5" dirty="0"/>
              <a:t> участков	(изменения</a:t>
            </a:r>
            <a:r>
              <a:rPr sz="2400" b="1" spc="10" dirty="0"/>
              <a:t> </a:t>
            </a:r>
            <a:r>
              <a:rPr sz="2400" b="1" dirty="0"/>
              <a:t>в </a:t>
            </a:r>
            <a:r>
              <a:rPr sz="2400" b="1" spc="-5" dirty="0"/>
              <a:t>статью</a:t>
            </a:r>
            <a:r>
              <a:rPr sz="2400" b="1" spc="-15" dirty="0"/>
              <a:t> </a:t>
            </a:r>
            <a:r>
              <a:rPr sz="2400" b="1" spc="-5" dirty="0"/>
              <a:t>43)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6</a:t>
            </a:fld>
            <a:endParaRPr spc="-5" dirty="0"/>
          </a:p>
        </p:txBody>
      </p:sp>
      <p:sp>
        <p:nvSpPr>
          <p:cNvPr id="5" name="object 5"/>
          <p:cNvSpPr txBox="1"/>
          <p:nvPr/>
        </p:nvSpPr>
        <p:spPr>
          <a:xfrm>
            <a:off x="1050442" y="1502409"/>
            <a:ext cx="7645400" cy="359282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Согласование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местоположение</a:t>
            </a:r>
            <a:r>
              <a:rPr sz="1800" b="1" spc="3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"/>
                <a:cs typeface="Calibri"/>
              </a:rPr>
              <a:t>границ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путем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проставления</a:t>
            </a:r>
            <a:r>
              <a:rPr sz="1800" b="1" spc="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личной</a:t>
            </a:r>
            <a:r>
              <a:rPr sz="1800" b="1" spc="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подписи</a:t>
            </a:r>
            <a:r>
              <a:rPr sz="1800" b="1" spc="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"/>
                <a:cs typeface="Calibri"/>
              </a:rPr>
              <a:t>в </a:t>
            </a:r>
            <a:r>
              <a:rPr sz="1800" b="1" spc="-39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акте</a:t>
            </a:r>
            <a:r>
              <a:rPr sz="1800" b="1" spc="-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согласования</a:t>
            </a:r>
            <a:r>
              <a:rPr sz="1800" b="1" spc="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dirty="0">
                <a:solidFill>
                  <a:srgbClr val="FF0000"/>
                </a:solidFill>
                <a:latin typeface="Calibri"/>
                <a:cs typeface="Calibri"/>
              </a:rPr>
              <a:t>при</a:t>
            </a:r>
            <a:r>
              <a:rPr sz="1800" b="1" spc="1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ГКУ</a:t>
            </a:r>
            <a:r>
              <a:rPr sz="1800" b="1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обязательно:</a:t>
            </a:r>
            <a:endParaRPr sz="1800" b="1" dirty="0">
              <a:solidFill>
                <a:srgbClr val="FF0000"/>
              </a:solidFill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750" dirty="0">
              <a:latin typeface="Calibri"/>
              <a:cs typeface="Calibri"/>
            </a:endParaRPr>
          </a:p>
          <a:p>
            <a:pPr marL="12700" marR="464184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-при </a:t>
            </a:r>
            <a:r>
              <a:rPr sz="1800" spc="-5" dirty="0">
                <a:latin typeface="Calibri"/>
                <a:cs typeface="Calibri"/>
              </a:rPr>
              <a:t>ГКУ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вязи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точнением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местоположения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и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границ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астка,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тора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дновременно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являетс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бщей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ью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границ </a:t>
            </a:r>
            <a:r>
              <a:rPr sz="1800" spc="-5" dirty="0">
                <a:latin typeface="Calibri"/>
                <a:cs typeface="Calibri"/>
              </a:rPr>
              <a:t>других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 участков,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или)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изменением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лощад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ого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а</a:t>
            </a:r>
            <a:r>
              <a:rPr sz="1800" spc="3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</a:p>
          <a:p>
            <a:pPr marL="12700" marR="21590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требуется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несение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зменений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ведения,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держащиеся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ЕГРН,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о</a:t>
            </a:r>
            <a:r>
              <a:rPr sz="1800" spc="-10" dirty="0">
                <a:latin typeface="Calibri"/>
                <a:cs typeface="Calibri"/>
              </a:rPr>
              <a:t> смежных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с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им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астках;</a:t>
            </a:r>
            <a:endParaRPr sz="18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750" dirty="0">
              <a:latin typeface="Calibri"/>
              <a:cs typeface="Calibri"/>
            </a:endParaRPr>
          </a:p>
          <a:p>
            <a:pPr marL="12700" marR="59055" indent="50165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-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в</a:t>
            </a:r>
            <a:r>
              <a:rPr sz="1800" i="1" spc="-5" dirty="0">
                <a:latin typeface="Calibri"/>
                <a:cs typeface="Calibri"/>
              </a:rPr>
              <a:t> связи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с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образованием</a:t>
            </a:r>
            <a:r>
              <a:rPr sz="1800" i="1" spc="2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земельных</a:t>
            </a:r>
            <a:r>
              <a:rPr sz="1800" i="1" spc="-2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участков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одновременно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осуществлено </a:t>
            </a:r>
            <a:r>
              <a:rPr sz="1800" i="1" spc="-39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уточнение местоположения</a:t>
            </a:r>
            <a:r>
              <a:rPr sz="1800" i="1" spc="-1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части</a:t>
            </a:r>
            <a:r>
              <a:rPr sz="1800" i="1" spc="15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(частей)</a:t>
            </a:r>
            <a:r>
              <a:rPr sz="1800" i="1" spc="25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границ</a:t>
            </a:r>
            <a:r>
              <a:rPr sz="1800" i="1" spc="-5" dirty="0">
                <a:latin typeface="Calibri"/>
                <a:cs typeface="Calibri"/>
              </a:rPr>
              <a:t> других</a:t>
            </a:r>
            <a:r>
              <a:rPr sz="1800" i="1" spc="-10" dirty="0">
                <a:latin typeface="Calibri"/>
                <a:cs typeface="Calibri"/>
              </a:rPr>
              <a:t> земельных </a:t>
            </a:r>
            <a:r>
              <a:rPr sz="1800" i="1" spc="-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участков,</a:t>
            </a:r>
            <a:r>
              <a:rPr sz="1800" i="1" spc="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которая</a:t>
            </a:r>
            <a:r>
              <a:rPr sz="1800" i="1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является </a:t>
            </a:r>
            <a:r>
              <a:rPr sz="1800" i="1" spc="-5" dirty="0">
                <a:latin typeface="Calibri"/>
                <a:cs typeface="Calibri"/>
              </a:rPr>
              <a:t>общей</a:t>
            </a:r>
            <a:r>
              <a:rPr sz="1800" i="1" spc="1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частью</a:t>
            </a:r>
            <a:r>
              <a:rPr sz="1800" i="1" spc="30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(которые</a:t>
            </a:r>
            <a:r>
              <a:rPr sz="1800" i="1" spc="15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являются </a:t>
            </a:r>
            <a:r>
              <a:rPr sz="1800" i="1" spc="-5" dirty="0">
                <a:latin typeface="Calibri"/>
                <a:cs typeface="Calibri"/>
              </a:rPr>
              <a:t>общими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i="1" spc="-5" dirty="0">
                <a:latin typeface="Calibri"/>
                <a:cs typeface="Calibri"/>
              </a:rPr>
              <a:t>частями)</a:t>
            </a:r>
            <a:r>
              <a:rPr sz="1800" i="1" spc="-10" dirty="0">
                <a:latin typeface="Calibri"/>
                <a:cs typeface="Calibri"/>
              </a:rPr>
              <a:t> </a:t>
            </a:r>
            <a:r>
              <a:rPr sz="1800" i="1" dirty="0">
                <a:latin typeface="Calibri"/>
                <a:cs typeface="Calibri"/>
              </a:rPr>
              <a:t>границ </a:t>
            </a:r>
            <a:r>
              <a:rPr sz="1800" i="1" spc="-5" dirty="0">
                <a:latin typeface="Calibri"/>
                <a:cs typeface="Calibri"/>
              </a:rPr>
              <a:t>образуемого</a:t>
            </a:r>
            <a:r>
              <a:rPr sz="1800" i="1" spc="-10" dirty="0">
                <a:latin typeface="Calibri"/>
                <a:cs typeface="Calibri"/>
              </a:rPr>
              <a:t> </a:t>
            </a:r>
            <a:r>
              <a:rPr sz="1800" i="1" spc="-5" dirty="0">
                <a:latin typeface="Calibri"/>
                <a:cs typeface="Calibri"/>
              </a:rPr>
              <a:t>земельного</a:t>
            </a:r>
            <a:r>
              <a:rPr sz="1800" i="1" spc="-20" dirty="0">
                <a:latin typeface="Calibri"/>
                <a:cs typeface="Calibri"/>
              </a:rPr>
              <a:t> </a:t>
            </a:r>
            <a:r>
              <a:rPr sz="1800" i="1" spc="-10" dirty="0">
                <a:latin typeface="Calibri"/>
                <a:cs typeface="Calibri"/>
              </a:rPr>
              <a:t>участка.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27398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64793" y="224076"/>
            <a:ext cx="7411720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  <a:tabLst>
                <a:tab pos="2851150" algn="l"/>
              </a:tabLst>
            </a:pPr>
            <a:r>
              <a:rPr sz="2400" b="1" spc="-5" dirty="0"/>
              <a:t>Особенности осуществления ГКУ при уточнении </a:t>
            </a:r>
            <a:r>
              <a:rPr sz="2400" b="1" dirty="0"/>
              <a:t>границ </a:t>
            </a:r>
            <a:r>
              <a:rPr sz="2400" b="1" spc="-530" dirty="0"/>
              <a:t> </a:t>
            </a:r>
            <a:r>
              <a:rPr sz="2400" b="1" spc="-10" dirty="0"/>
              <a:t>земельных</a:t>
            </a:r>
            <a:r>
              <a:rPr sz="2400" b="1" spc="-5" dirty="0"/>
              <a:t> участков	(изменения</a:t>
            </a:r>
            <a:r>
              <a:rPr sz="2400" b="1" spc="10" dirty="0"/>
              <a:t> </a:t>
            </a:r>
            <a:r>
              <a:rPr sz="2400" b="1" dirty="0"/>
              <a:t>в </a:t>
            </a:r>
            <a:r>
              <a:rPr sz="2400" b="1" spc="-5" dirty="0"/>
              <a:t>статью</a:t>
            </a:r>
            <a:r>
              <a:rPr sz="2400" b="1" spc="-15" dirty="0"/>
              <a:t> </a:t>
            </a:r>
            <a:r>
              <a:rPr sz="2400" b="1" spc="-5" dirty="0"/>
              <a:t>43)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7</a:t>
            </a:fld>
            <a:endParaRPr spc="-5" dirty="0"/>
          </a:p>
        </p:txBody>
      </p:sp>
      <p:sp>
        <p:nvSpPr>
          <p:cNvPr id="5" name="object 5"/>
          <p:cNvSpPr txBox="1"/>
          <p:nvPr/>
        </p:nvSpPr>
        <p:spPr>
          <a:xfrm>
            <a:off x="547217" y="1143761"/>
            <a:ext cx="8210550" cy="442941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22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latin typeface="Calibri"/>
                <a:cs typeface="Calibri"/>
              </a:rPr>
              <a:t>Введена</a:t>
            </a:r>
            <a:r>
              <a:rPr sz="1800" spc="-5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ь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2.1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ст.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 smtClean="0">
                <a:latin typeface="Calibri"/>
                <a:cs typeface="Calibri"/>
              </a:rPr>
              <a:t>4</a:t>
            </a:r>
            <a:r>
              <a:rPr lang="ru-RU" sz="1800" dirty="0" smtClean="0">
                <a:latin typeface="Calibri"/>
                <a:cs typeface="Calibri"/>
              </a:rPr>
              <a:t>3</a:t>
            </a:r>
            <a:r>
              <a:rPr sz="1800" dirty="0" smtClean="0">
                <a:latin typeface="Calibri"/>
                <a:cs typeface="Calibri"/>
              </a:rPr>
              <a:t>:</a:t>
            </a:r>
            <a:endParaRPr sz="18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750" dirty="0">
              <a:latin typeface="Calibri"/>
              <a:cs typeface="Calibri"/>
            </a:endParaRPr>
          </a:p>
          <a:p>
            <a:pPr marL="12700" marR="6350" indent="449580" algn="just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Уточнение </a:t>
            </a:r>
            <a:r>
              <a:rPr sz="1800" dirty="0">
                <a:latin typeface="Calibri"/>
                <a:cs typeface="Calibri"/>
              </a:rPr>
              <a:t>границ </a:t>
            </a:r>
            <a:r>
              <a:rPr sz="1800" spc="-10" dirty="0">
                <a:latin typeface="Calibri"/>
                <a:cs typeface="Calibri"/>
              </a:rPr>
              <a:t>земельных </a:t>
            </a:r>
            <a:r>
              <a:rPr sz="1800" spc="-5" dirty="0">
                <a:latin typeface="Calibri"/>
                <a:cs typeface="Calibri"/>
              </a:rPr>
              <a:t>участков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5" dirty="0">
                <a:latin typeface="Calibri"/>
                <a:cs typeface="Calibri"/>
              </a:rPr>
              <a:t>случае выявления ошибки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5" dirty="0">
                <a:latin typeface="Calibri"/>
                <a:cs typeface="Calibri"/>
              </a:rPr>
              <a:t>описании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местоположения </a:t>
            </a:r>
            <a:r>
              <a:rPr sz="1800" dirty="0">
                <a:latin typeface="Calibri"/>
                <a:cs typeface="Calibri"/>
              </a:rPr>
              <a:t>границ 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смежных </a:t>
            </a:r>
            <a:r>
              <a:rPr sz="1800" b="1" dirty="0">
                <a:solidFill>
                  <a:srgbClr val="FF0000"/>
                </a:solidFill>
                <a:latin typeface="Calibri"/>
                <a:cs typeface="Calibri"/>
              </a:rPr>
              <a:t>и (или)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несмежных </a:t>
            </a:r>
            <a:r>
              <a:rPr sz="1800" b="1" spc="-10" dirty="0">
                <a:solidFill>
                  <a:srgbClr val="FF0000"/>
                </a:solidFill>
                <a:latin typeface="Calibri"/>
                <a:cs typeface="Calibri"/>
              </a:rPr>
              <a:t>земельных </a:t>
            </a:r>
            <a:r>
              <a:rPr sz="1800" b="1" spc="-5" dirty="0">
                <a:solidFill>
                  <a:srgbClr val="FF0000"/>
                </a:solidFill>
                <a:latin typeface="Calibri"/>
                <a:cs typeface="Calibri"/>
              </a:rPr>
              <a:t>участк</a:t>
            </a:r>
            <a:r>
              <a:rPr sz="1800" spc="-5" dirty="0">
                <a:latin typeface="Calibri"/>
                <a:cs typeface="Calibri"/>
              </a:rPr>
              <a:t>ов,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15" dirty="0">
                <a:latin typeface="Calibri"/>
                <a:cs typeface="Calibri"/>
              </a:rPr>
              <a:t>том 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исле </a:t>
            </a:r>
            <a:r>
              <a:rPr sz="1800" dirty="0">
                <a:latin typeface="Calibri"/>
                <a:cs typeface="Calibri"/>
              </a:rPr>
              <a:t>при </a:t>
            </a:r>
            <a:r>
              <a:rPr sz="1800" spc="-5" dirty="0">
                <a:latin typeface="Calibri"/>
                <a:cs typeface="Calibri"/>
              </a:rPr>
              <a:t>выполнении кадастровых работ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5" dirty="0">
                <a:latin typeface="Calibri"/>
                <a:cs typeface="Calibri"/>
              </a:rPr>
              <a:t>отношении </a:t>
            </a:r>
            <a:r>
              <a:rPr sz="1800" spc="-15" dirty="0">
                <a:latin typeface="Calibri"/>
                <a:cs typeface="Calibri"/>
              </a:rPr>
              <a:t>ОКС, </a:t>
            </a:r>
            <a:r>
              <a:rPr sz="1800" spc="-10" dirty="0">
                <a:latin typeface="Calibri"/>
                <a:cs typeface="Calibri"/>
              </a:rPr>
              <a:t>осуществляется </a:t>
            </a:r>
            <a:r>
              <a:rPr sz="1800" spc="-5" dirty="0">
                <a:latin typeface="Calibri"/>
                <a:cs typeface="Calibri"/>
              </a:rPr>
              <a:t>на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новании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заявления:</a:t>
            </a:r>
            <a:endParaRPr sz="1800" dirty="0">
              <a:latin typeface="Calibri"/>
              <a:cs typeface="Calibri"/>
            </a:endParaRPr>
          </a:p>
          <a:p>
            <a:pPr marL="12700" marR="6985" algn="just">
              <a:lnSpc>
                <a:spcPct val="100000"/>
              </a:lnSpc>
              <a:spcBef>
                <a:spcPts val="5"/>
              </a:spcBef>
              <a:buChar char="-"/>
              <a:tabLst>
                <a:tab pos="462280" algn="l"/>
              </a:tabLst>
            </a:pPr>
            <a:r>
              <a:rPr sz="1800" dirty="0">
                <a:latin typeface="Calibri"/>
                <a:cs typeface="Calibri"/>
              </a:rPr>
              <a:t>лица,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являющегос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правообладателем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одного</a:t>
            </a:r>
            <a:r>
              <a:rPr sz="1800" spc="37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з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spc="-5" dirty="0">
                <a:latin typeface="Calibri"/>
                <a:cs typeface="Calibri"/>
              </a:rPr>
              <a:t> участков,</a:t>
            </a:r>
            <a:r>
              <a:rPr sz="1800" dirty="0">
                <a:latin typeface="Calibri"/>
                <a:cs typeface="Calibri"/>
              </a:rPr>
              <a:t> в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тношении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торых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существляется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точнение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spc="5" dirty="0">
                <a:latin typeface="Calibri"/>
                <a:cs typeface="Calibri"/>
              </a:rPr>
              <a:t>границ,</a:t>
            </a:r>
            <a:endParaRPr sz="1800" dirty="0">
              <a:latin typeface="Calibri"/>
              <a:cs typeface="Calibri"/>
            </a:endParaRPr>
          </a:p>
          <a:p>
            <a:pPr marL="12700" marR="5715" algn="just">
              <a:lnSpc>
                <a:spcPct val="100000"/>
              </a:lnSpc>
              <a:buChar char="-"/>
              <a:tabLst>
                <a:tab pos="462280" algn="l"/>
              </a:tabLst>
            </a:pPr>
            <a:r>
              <a:rPr sz="1800" dirty="0">
                <a:latin typeface="Calibri"/>
                <a:cs typeface="Calibri"/>
              </a:rPr>
              <a:t>либо </a:t>
            </a:r>
            <a:r>
              <a:rPr sz="1800" spc="-5" dirty="0">
                <a:latin typeface="Calibri"/>
                <a:cs typeface="Calibri"/>
              </a:rPr>
              <a:t>указанного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30" dirty="0">
                <a:latin typeface="Calibri"/>
                <a:cs typeface="Calibri"/>
              </a:rPr>
              <a:t>ст. </a:t>
            </a:r>
            <a:r>
              <a:rPr sz="1800" spc="-5" dirty="0">
                <a:latin typeface="Calibri"/>
                <a:cs typeface="Calibri"/>
              </a:rPr>
              <a:t>15 ФЗ </a:t>
            </a:r>
            <a:r>
              <a:rPr sz="1800" spc="-10" dirty="0">
                <a:latin typeface="Calibri"/>
                <a:cs typeface="Calibri"/>
              </a:rPr>
              <a:t>от </a:t>
            </a:r>
            <a:r>
              <a:rPr sz="1800" spc="-5" dirty="0">
                <a:latin typeface="Calibri"/>
                <a:cs typeface="Calibri"/>
              </a:rPr>
              <a:t>13.07.2015 </a:t>
            </a:r>
            <a:r>
              <a:rPr sz="1800" dirty="0">
                <a:latin typeface="Calibri"/>
                <a:cs typeface="Calibri"/>
              </a:rPr>
              <a:t>№ </a:t>
            </a:r>
            <a:r>
              <a:rPr sz="1800" spc="-5" dirty="0">
                <a:latin typeface="Calibri"/>
                <a:cs typeface="Calibri"/>
              </a:rPr>
              <a:t>218-ФЗ </a:t>
            </a:r>
            <a:r>
              <a:rPr sz="1800" dirty="0">
                <a:latin typeface="Calibri"/>
                <a:cs typeface="Calibri"/>
              </a:rPr>
              <a:t>лица, </a:t>
            </a:r>
            <a:r>
              <a:rPr sz="1800" spc="-5" dirty="0">
                <a:latin typeface="Calibri"/>
                <a:cs typeface="Calibri"/>
              </a:rPr>
              <a:t>заинтересованного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ГКУ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или)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ГРП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н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ОКС,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а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также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необходимых</a:t>
            </a:r>
            <a:r>
              <a:rPr sz="1800" spc="-10" dirty="0">
                <a:latin typeface="Calibri"/>
                <a:cs typeface="Calibri"/>
              </a:rPr>
              <a:t> для</a:t>
            </a:r>
            <a:r>
              <a:rPr sz="1800" spc="-5" dirty="0">
                <a:latin typeface="Calibri"/>
                <a:cs typeface="Calibri"/>
              </a:rPr>
              <a:t> таки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ГКУ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</a:t>
            </a:r>
            <a:r>
              <a:rPr sz="1800" spc="40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или)</a:t>
            </a:r>
            <a:r>
              <a:rPr sz="1800" spc="39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ГРП 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документов.</a:t>
            </a:r>
            <a:endParaRPr sz="18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750" dirty="0">
              <a:latin typeface="Calibri"/>
              <a:cs typeface="Calibri"/>
            </a:endParaRPr>
          </a:p>
          <a:p>
            <a:pPr marL="12700" marR="5080" indent="449580" algn="just">
              <a:lnSpc>
                <a:spcPct val="100000"/>
              </a:lnSpc>
            </a:pPr>
            <a:r>
              <a:rPr sz="1800" dirty="0">
                <a:latin typeface="Calibri"/>
                <a:cs typeface="Calibri"/>
              </a:rPr>
              <a:t>В </a:t>
            </a:r>
            <a:r>
              <a:rPr sz="1800" spc="-5" dirty="0">
                <a:latin typeface="Calibri"/>
                <a:cs typeface="Calibri"/>
              </a:rPr>
              <a:t>указанном случае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10" dirty="0">
                <a:latin typeface="Calibri"/>
                <a:cs typeface="Calibri"/>
              </a:rPr>
              <a:t>межевой </a:t>
            </a:r>
            <a:r>
              <a:rPr sz="1800" dirty="0">
                <a:latin typeface="Calibri"/>
                <a:cs typeface="Calibri"/>
              </a:rPr>
              <a:t>план </a:t>
            </a:r>
            <a:r>
              <a:rPr sz="1800" spc="-5" dirty="0">
                <a:latin typeface="Calibri"/>
                <a:cs typeface="Calibri"/>
              </a:rPr>
              <a:t>включается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обоснование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наличия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ошибки </a:t>
            </a:r>
            <a:r>
              <a:rPr sz="1800" spc="-39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в</a:t>
            </a:r>
            <a:r>
              <a:rPr sz="1800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описании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местоположения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границ</a:t>
            </a:r>
            <a:r>
              <a:rPr sz="1800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смежных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и</a:t>
            </a:r>
            <a:r>
              <a:rPr sz="1800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(или)</a:t>
            </a:r>
            <a:r>
              <a:rPr sz="1800" spc="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несмежных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земельных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участков,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а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местоположение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границ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казанны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ов</a:t>
            </a:r>
            <a:r>
              <a:rPr sz="1800" spc="-5" dirty="0">
                <a:latin typeface="Calibri"/>
                <a:cs typeface="Calibri"/>
              </a:rPr>
              <a:t> считается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огласованным </a:t>
            </a:r>
            <a:r>
              <a:rPr sz="1800" spc="-15" dirty="0">
                <a:latin typeface="Calibri"/>
                <a:cs typeface="Calibri"/>
              </a:rPr>
              <a:t>только </a:t>
            </a:r>
            <a:r>
              <a:rPr sz="1800" dirty="0">
                <a:latin typeface="Calibri"/>
                <a:cs typeface="Calibri"/>
              </a:rPr>
              <a:t>при наличии в </a:t>
            </a:r>
            <a:r>
              <a:rPr sz="1800" spc="-5" dirty="0">
                <a:latin typeface="Calibri"/>
                <a:cs typeface="Calibri"/>
              </a:rPr>
              <a:t>акте </a:t>
            </a:r>
            <a:r>
              <a:rPr sz="1800" spc="-10" dirty="0">
                <a:latin typeface="Calibri"/>
                <a:cs typeface="Calibri"/>
              </a:rPr>
              <a:t>согласования местоположения </a:t>
            </a:r>
            <a:r>
              <a:rPr sz="1800" spc="-5" dirty="0">
                <a:latin typeface="Calibri"/>
                <a:cs typeface="Calibri"/>
              </a:rPr>
              <a:t>границ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0"/>
                </a:solidFill>
                <a:latin typeface="Calibri"/>
                <a:cs typeface="Calibri"/>
              </a:rPr>
              <a:t>личных</a:t>
            </a:r>
            <a:r>
              <a:rPr sz="1800" spc="-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подписей</a:t>
            </a:r>
            <a:r>
              <a:rPr sz="1800" spc="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сех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заинтересованных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лиц ил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х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представителей.</a:t>
            </a:r>
            <a:endParaRPr sz="18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1509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5791199"/>
            <a:ext cx="9144000" cy="1063625"/>
          </a:xfrm>
          <a:prstGeom prst="rect">
            <a:avLst/>
          </a:prstGeom>
        </p:spPr>
      </p:pic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17966" y="75415"/>
            <a:ext cx="7886700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729615" marR="5080" algn="ctr">
              <a:lnSpc>
                <a:spcPct val="100000"/>
              </a:lnSpc>
              <a:spcBef>
                <a:spcPts val="100"/>
              </a:spcBef>
              <a:tabLst>
                <a:tab pos="4594860" algn="l"/>
              </a:tabLst>
            </a:pPr>
            <a:r>
              <a:rPr sz="2400" b="1" spc="-5" dirty="0"/>
              <a:t>Осуществление</a:t>
            </a:r>
            <a:r>
              <a:rPr sz="2400" b="1" spc="-20" dirty="0"/>
              <a:t> </a:t>
            </a:r>
            <a:r>
              <a:rPr sz="2400" b="1" spc="-5" dirty="0"/>
              <a:t>ГКУ</a:t>
            </a:r>
            <a:r>
              <a:rPr sz="2400" b="1" spc="-15" dirty="0"/>
              <a:t> </a:t>
            </a:r>
            <a:r>
              <a:rPr sz="2400" b="1" dirty="0"/>
              <a:t>и </a:t>
            </a:r>
            <a:r>
              <a:rPr sz="2400" b="1" spc="-5" dirty="0"/>
              <a:t>(или)</a:t>
            </a:r>
            <a:r>
              <a:rPr sz="2400" b="1" spc="5" dirty="0"/>
              <a:t> </a:t>
            </a:r>
            <a:r>
              <a:rPr sz="2400" b="1" spc="-5" dirty="0"/>
              <a:t>ГРП</a:t>
            </a:r>
            <a:r>
              <a:rPr sz="2400" b="1" dirty="0"/>
              <a:t> </a:t>
            </a:r>
            <a:r>
              <a:rPr sz="2400" b="1" spc="-5" dirty="0"/>
              <a:t>на</a:t>
            </a:r>
            <a:r>
              <a:rPr sz="2400" b="1" spc="-10" dirty="0"/>
              <a:t> недвижимое</a:t>
            </a:r>
            <a:r>
              <a:rPr sz="2400" b="1" spc="5" dirty="0"/>
              <a:t> </a:t>
            </a:r>
            <a:r>
              <a:rPr sz="2400" b="1" spc="-5" dirty="0"/>
              <a:t>имущество </a:t>
            </a:r>
            <a:r>
              <a:rPr sz="2400" b="1" spc="-530" dirty="0"/>
              <a:t> </a:t>
            </a:r>
            <a:r>
              <a:rPr sz="2400" b="1" spc="-5" dirty="0"/>
              <a:t>на основании</a:t>
            </a:r>
            <a:r>
              <a:rPr sz="2400" b="1" spc="-20" dirty="0"/>
              <a:t> </a:t>
            </a:r>
            <a:r>
              <a:rPr sz="2400" b="1" spc="-5" dirty="0" err="1"/>
              <a:t>решения</a:t>
            </a:r>
            <a:r>
              <a:rPr sz="2400" b="1" spc="30" dirty="0"/>
              <a:t> </a:t>
            </a:r>
            <a:r>
              <a:rPr sz="2400" b="1" spc="-25" dirty="0" err="1" smtClean="0"/>
              <a:t>суда</a:t>
            </a:r>
            <a:r>
              <a:rPr lang="ru-RU" sz="2400" b="1" spc="-25" dirty="0" smtClean="0"/>
              <a:t/>
            </a:r>
            <a:br>
              <a:rPr lang="ru-RU" sz="2400" b="1" spc="-25" dirty="0" smtClean="0"/>
            </a:br>
            <a:r>
              <a:rPr sz="2400" b="1" spc="-5" dirty="0" smtClean="0"/>
              <a:t>(</a:t>
            </a:r>
            <a:r>
              <a:rPr sz="2400" b="1" spc="-5" dirty="0"/>
              <a:t>изменения</a:t>
            </a:r>
            <a:r>
              <a:rPr sz="2400" b="1" spc="10" dirty="0"/>
              <a:t> </a:t>
            </a:r>
            <a:r>
              <a:rPr sz="2400" b="1" dirty="0"/>
              <a:t>в</a:t>
            </a:r>
            <a:r>
              <a:rPr sz="2400" b="1" spc="-5" dirty="0"/>
              <a:t> статью 58)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3268726" y="1131189"/>
            <a:ext cx="375094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5" dirty="0">
                <a:solidFill>
                  <a:srgbClr val="FF0000"/>
                </a:solidFill>
                <a:latin typeface="Calibri"/>
                <a:cs typeface="Calibri"/>
              </a:rPr>
              <a:t>Межевой</a:t>
            </a:r>
            <a:r>
              <a:rPr sz="2400" b="1" spc="-4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400" b="1" spc="-5" dirty="0">
                <a:solidFill>
                  <a:srgbClr val="FF0000"/>
                </a:solidFill>
                <a:latin typeface="Calibri"/>
                <a:cs typeface="Calibri"/>
              </a:rPr>
              <a:t>план</a:t>
            </a:r>
            <a:r>
              <a:rPr sz="2400" b="1" spc="-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400" b="1" spc="-5" dirty="0">
                <a:solidFill>
                  <a:srgbClr val="FF0000"/>
                </a:solidFill>
                <a:latin typeface="Calibri"/>
                <a:cs typeface="Calibri"/>
              </a:rPr>
              <a:t>не</a:t>
            </a:r>
            <a:r>
              <a:rPr sz="2400" b="1" spc="-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2400" b="1" spc="-10" dirty="0">
                <a:solidFill>
                  <a:srgbClr val="FF0000"/>
                </a:solidFill>
                <a:latin typeface="Calibri"/>
                <a:cs typeface="Calibri"/>
              </a:rPr>
              <a:t>требуется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482344" y="2782061"/>
            <a:ext cx="7260590" cy="3317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350" indent="51435" algn="just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если </a:t>
            </a:r>
            <a:r>
              <a:rPr sz="1800" spc="-10" dirty="0">
                <a:latin typeface="Calibri"/>
                <a:cs typeface="Calibri"/>
              </a:rPr>
              <a:t>необходимость </a:t>
            </a:r>
            <a:r>
              <a:rPr sz="1800" spc="-5" dirty="0">
                <a:latin typeface="Calibri"/>
                <a:cs typeface="Calibri"/>
              </a:rPr>
              <a:t>осуществления </a:t>
            </a:r>
            <a:r>
              <a:rPr sz="1800" spc="-10" dirty="0">
                <a:latin typeface="Calibri"/>
                <a:cs typeface="Calibri"/>
              </a:rPr>
              <a:t>ГКУ </a:t>
            </a:r>
            <a:r>
              <a:rPr sz="1800" spc="-5" dirty="0">
                <a:latin typeface="Calibri"/>
                <a:cs typeface="Calibri"/>
              </a:rPr>
              <a:t>установлена решением </a:t>
            </a:r>
            <a:r>
              <a:rPr sz="1800" spc="-25" dirty="0">
                <a:latin typeface="Calibri"/>
                <a:cs typeface="Calibri"/>
              </a:rPr>
              <a:t>суда </a:t>
            </a:r>
            <a:r>
              <a:rPr sz="1800" dirty="0">
                <a:latin typeface="Calibri"/>
                <a:cs typeface="Calibri"/>
              </a:rPr>
              <a:t>и 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такое </a:t>
            </a:r>
            <a:r>
              <a:rPr sz="1800" spc="-5" dirty="0">
                <a:latin typeface="Calibri"/>
                <a:cs typeface="Calibri"/>
              </a:rPr>
              <a:t>решение </a:t>
            </a:r>
            <a:r>
              <a:rPr sz="1800" spc="-25" dirty="0">
                <a:latin typeface="Calibri"/>
                <a:cs typeface="Calibri"/>
              </a:rPr>
              <a:t>суда </a:t>
            </a:r>
            <a:r>
              <a:rPr sz="1800" dirty="0">
                <a:latin typeface="Calibri"/>
                <a:cs typeface="Calibri"/>
              </a:rPr>
              <a:t>либо </a:t>
            </a:r>
            <a:r>
              <a:rPr sz="1800" spc="-5" dirty="0">
                <a:latin typeface="Calibri"/>
                <a:cs typeface="Calibri"/>
              </a:rPr>
              <a:t>решение </a:t>
            </a:r>
            <a:r>
              <a:rPr sz="1800" spc="-20" dirty="0">
                <a:latin typeface="Calibri"/>
                <a:cs typeface="Calibri"/>
              </a:rPr>
              <a:t>суда, </a:t>
            </a:r>
            <a:r>
              <a:rPr sz="1800" spc="-5" dirty="0">
                <a:latin typeface="Calibri"/>
                <a:cs typeface="Calibri"/>
              </a:rPr>
              <a:t>разрешившее спор </a:t>
            </a:r>
            <a:r>
              <a:rPr sz="1800" dirty="0">
                <a:latin typeface="Calibri"/>
                <a:cs typeface="Calibri"/>
              </a:rPr>
              <a:t>о </a:t>
            </a:r>
            <a:r>
              <a:rPr sz="1800" spc="-5" dirty="0">
                <a:latin typeface="Calibri"/>
                <a:cs typeface="Calibri"/>
              </a:rPr>
              <a:t>границах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spc="-5" dirty="0">
                <a:latin typeface="Calibri"/>
                <a:cs typeface="Calibri"/>
              </a:rPr>
              <a:t> участков</a:t>
            </a:r>
            <a:r>
              <a:rPr sz="1800" dirty="0">
                <a:latin typeface="Calibri"/>
                <a:cs typeface="Calibri"/>
              </a:rPr>
              <a:t> и </a:t>
            </a:r>
            <a:r>
              <a:rPr sz="1800" spc="-5" dirty="0">
                <a:latin typeface="Calibri"/>
                <a:cs typeface="Calibri"/>
              </a:rPr>
              <a:t>(или)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контурах </a:t>
            </a:r>
            <a:r>
              <a:rPr sz="1800" spc="-10" dirty="0">
                <a:latin typeface="Calibri"/>
                <a:cs typeface="Calibri"/>
              </a:rPr>
              <a:t>расположенных</a:t>
            </a:r>
            <a:r>
              <a:rPr sz="1800" spc="-5" dirty="0">
                <a:latin typeface="Calibri"/>
                <a:cs typeface="Calibri"/>
              </a:rPr>
              <a:t> на</a:t>
            </a:r>
            <a:r>
              <a:rPr sz="1800" dirty="0">
                <a:latin typeface="Calibri"/>
                <a:cs typeface="Calibri"/>
              </a:rPr>
              <a:t> них </a:t>
            </a:r>
            <a:r>
              <a:rPr sz="1800" spc="-10" dirty="0">
                <a:latin typeface="Calibri"/>
                <a:cs typeface="Calibri"/>
              </a:rPr>
              <a:t>объектов 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недвижимости,</a:t>
            </a:r>
            <a:r>
              <a:rPr sz="1800" spc="-5" dirty="0">
                <a:latin typeface="Calibri"/>
                <a:cs typeface="Calibri"/>
              </a:rPr>
              <a:t> не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язывающее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рган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регистрации</a:t>
            </a:r>
            <a:r>
              <a:rPr sz="1800" dirty="0">
                <a:latin typeface="Calibri"/>
                <a:cs typeface="Calibri"/>
              </a:rPr>
              <a:t> прав</a:t>
            </a:r>
            <a:r>
              <a:rPr sz="1800" spc="40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существить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45" dirty="0">
                <a:latin typeface="Calibri"/>
                <a:cs typeface="Calibri"/>
              </a:rPr>
              <a:t>ГКУ,</a:t>
            </a:r>
            <a:endParaRPr sz="1800">
              <a:latin typeface="Calibri"/>
              <a:cs typeface="Calibri"/>
            </a:endParaRPr>
          </a:p>
          <a:p>
            <a:pPr marL="12700" marR="5080" algn="just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решение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суда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содержит</a:t>
            </a:r>
            <a:r>
              <a:rPr sz="1800" spc="-10" dirty="0">
                <a:latin typeface="Calibri"/>
                <a:cs typeface="Calibri"/>
              </a:rPr>
              <a:t> необходимые</a:t>
            </a:r>
            <a:r>
              <a:rPr sz="1800" spc="-5" dirty="0">
                <a:latin typeface="Calibri"/>
                <a:cs typeface="Calibri"/>
              </a:rPr>
              <a:t> для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несения</a:t>
            </a:r>
            <a:r>
              <a:rPr sz="1800" dirty="0">
                <a:latin typeface="Calibri"/>
                <a:cs typeface="Calibri"/>
              </a:rPr>
              <a:t> 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ЕГРН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основные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сведения об объекте недвижимости, </a:t>
            </a:r>
            <a:r>
              <a:rPr sz="1800" dirty="0">
                <a:latin typeface="Calibri"/>
                <a:cs typeface="Calibri"/>
              </a:rPr>
              <a:t>в </a:t>
            </a:r>
            <a:r>
              <a:rPr sz="1800" spc="-15" dirty="0">
                <a:latin typeface="Calibri"/>
                <a:cs typeface="Calibri"/>
              </a:rPr>
              <a:t>том </a:t>
            </a:r>
            <a:r>
              <a:rPr sz="1800" spc="-5" dirty="0">
                <a:latin typeface="Calibri"/>
                <a:cs typeface="Calibri"/>
              </a:rPr>
              <a:t>числе сведения </a:t>
            </a:r>
            <a:r>
              <a:rPr sz="1800" dirty="0">
                <a:latin typeface="Calibri"/>
                <a:cs typeface="Calibri"/>
              </a:rPr>
              <a:t>о </a:t>
            </a:r>
            <a:r>
              <a:rPr sz="1800" spc="-15" dirty="0">
                <a:latin typeface="Calibri"/>
                <a:cs typeface="Calibri"/>
              </a:rPr>
              <a:t>координатах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характерных </a:t>
            </a:r>
            <a:r>
              <a:rPr sz="1800" spc="-10" dirty="0">
                <a:latin typeface="Calibri"/>
                <a:cs typeface="Calibri"/>
              </a:rPr>
              <a:t>точек </a:t>
            </a:r>
            <a:r>
              <a:rPr sz="1800" dirty="0">
                <a:latin typeface="Calibri"/>
                <a:cs typeface="Calibri"/>
              </a:rPr>
              <a:t>границ </a:t>
            </a:r>
            <a:r>
              <a:rPr sz="1800" spc="-10" dirty="0">
                <a:latin typeface="Calibri"/>
                <a:cs typeface="Calibri"/>
              </a:rPr>
              <a:t>земельного </a:t>
            </a:r>
            <a:r>
              <a:rPr sz="1800" spc="-5" dirty="0">
                <a:latin typeface="Calibri"/>
                <a:cs typeface="Calibri"/>
              </a:rPr>
              <a:t>участка, </a:t>
            </a:r>
            <a:r>
              <a:rPr sz="1800" spc="-10" dirty="0">
                <a:latin typeface="Calibri"/>
                <a:cs typeface="Calibri"/>
              </a:rPr>
              <a:t>координатах </a:t>
            </a:r>
            <a:r>
              <a:rPr sz="1800" spc="-5" dirty="0">
                <a:latin typeface="Calibri"/>
                <a:cs typeface="Calibri"/>
              </a:rPr>
              <a:t>характерных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точек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контура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здания,</a:t>
            </a:r>
            <a:r>
              <a:rPr sz="1800" spc="-5" dirty="0">
                <a:latin typeface="Calibri"/>
                <a:cs typeface="Calibri"/>
              </a:rPr>
              <a:t> сооружения</a:t>
            </a:r>
            <a:r>
              <a:rPr sz="1800" dirty="0">
                <a:latin typeface="Calibri"/>
                <a:cs typeface="Calibri"/>
              </a:rPr>
              <a:t> ил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бъект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незавершенного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троительства </a:t>
            </a:r>
            <a:r>
              <a:rPr sz="1800" spc="-5" dirty="0">
                <a:latin typeface="Calibri"/>
                <a:cs typeface="Calibri"/>
              </a:rPr>
              <a:t>на </a:t>
            </a:r>
            <a:r>
              <a:rPr sz="1800" spc="-10" dirty="0">
                <a:latin typeface="Calibri"/>
                <a:cs typeface="Calibri"/>
              </a:rPr>
              <a:t>земельном </a:t>
            </a:r>
            <a:r>
              <a:rPr sz="1800" spc="-5" dirty="0">
                <a:latin typeface="Calibri"/>
                <a:cs typeface="Calibri"/>
              </a:rPr>
              <a:t>участке, </a:t>
            </a:r>
            <a:r>
              <a:rPr sz="1800" dirty="0">
                <a:latin typeface="Calibri"/>
                <a:cs typeface="Calibri"/>
              </a:rPr>
              <a:t>а </a:t>
            </a:r>
            <a:r>
              <a:rPr sz="1800" spc="-10" dirty="0">
                <a:latin typeface="Calibri"/>
                <a:cs typeface="Calibri"/>
              </a:rPr>
              <a:t>также соответствует </a:t>
            </a:r>
            <a:r>
              <a:rPr sz="1800" spc="-15" dirty="0">
                <a:latin typeface="Calibri"/>
                <a:cs typeface="Calibri"/>
              </a:rPr>
              <a:t>методам </a:t>
            </a:r>
            <a:r>
              <a:rPr sz="1800" spc="-5" dirty="0">
                <a:latin typeface="Calibri"/>
                <a:cs typeface="Calibri"/>
              </a:rPr>
              <a:t>их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пределения,</a:t>
            </a:r>
            <a:r>
              <a:rPr sz="1800" spc="-5" dirty="0">
                <a:latin typeface="Calibri"/>
                <a:cs typeface="Calibri"/>
              </a:rPr>
              <a:t> установленным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рганом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нормативно-правового 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регулирования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4481576" y="1624075"/>
            <a:ext cx="1370330" cy="1003300"/>
            <a:chOff x="4481576" y="1624075"/>
            <a:chExt cx="1370330" cy="1003300"/>
          </a:xfrm>
        </p:grpSpPr>
        <p:sp>
          <p:nvSpPr>
            <p:cNvPr id="8" name="object 8"/>
            <p:cNvSpPr/>
            <p:nvPr/>
          </p:nvSpPr>
          <p:spPr>
            <a:xfrm>
              <a:off x="4494276" y="1636775"/>
              <a:ext cx="1344930" cy="977900"/>
            </a:xfrm>
            <a:custGeom>
              <a:avLst/>
              <a:gdLst/>
              <a:ahLst/>
              <a:cxnLst/>
              <a:rect l="l" t="t" r="r" b="b"/>
              <a:pathLst>
                <a:path w="1344929" h="977900">
                  <a:moveTo>
                    <a:pt x="1008379" y="0"/>
                  </a:moveTo>
                  <a:lnTo>
                    <a:pt x="336041" y="0"/>
                  </a:lnTo>
                  <a:lnTo>
                    <a:pt x="336041" y="488950"/>
                  </a:lnTo>
                  <a:lnTo>
                    <a:pt x="0" y="488950"/>
                  </a:lnTo>
                  <a:lnTo>
                    <a:pt x="672211" y="977900"/>
                  </a:lnTo>
                  <a:lnTo>
                    <a:pt x="1344549" y="488950"/>
                  </a:lnTo>
                  <a:lnTo>
                    <a:pt x="1008379" y="488950"/>
                  </a:lnTo>
                  <a:lnTo>
                    <a:pt x="1008379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494276" y="1636775"/>
              <a:ext cx="1344930" cy="977900"/>
            </a:xfrm>
            <a:custGeom>
              <a:avLst/>
              <a:gdLst/>
              <a:ahLst/>
              <a:cxnLst/>
              <a:rect l="l" t="t" r="r" b="b"/>
              <a:pathLst>
                <a:path w="1344929" h="977900">
                  <a:moveTo>
                    <a:pt x="0" y="488950"/>
                  </a:moveTo>
                  <a:lnTo>
                    <a:pt x="336041" y="488950"/>
                  </a:lnTo>
                  <a:lnTo>
                    <a:pt x="336041" y="0"/>
                  </a:lnTo>
                  <a:lnTo>
                    <a:pt x="1008379" y="0"/>
                  </a:lnTo>
                  <a:lnTo>
                    <a:pt x="1008379" y="488950"/>
                  </a:lnTo>
                  <a:lnTo>
                    <a:pt x="1344549" y="488950"/>
                  </a:lnTo>
                  <a:lnTo>
                    <a:pt x="672211" y="977900"/>
                  </a:lnTo>
                  <a:lnTo>
                    <a:pt x="0" y="488950"/>
                  </a:lnTo>
                  <a:close/>
                </a:path>
              </a:pathLst>
            </a:custGeom>
            <a:ln w="25400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object 1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95287" y="2924111"/>
            <a:ext cx="871537" cy="865187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81000" y="4508563"/>
            <a:ext cx="885825" cy="877887"/>
          </a:xfrm>
          <a:prstGeom prst="rect">
            <a:avLst/>
          </a:prstGeom>
        </p:spPr>
      </p:pic>
      <p:sp>
        <p:nvSpPr>
          <p:cNvPr id="12" name="object 12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8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315736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09562" y="184213"/>
            <a:ext cx="517525" cy="779462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05967" y="343661"/>
            <a:ext cx="779716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b="1" spc="-5" dirty="0"/>
              <a:t>Исправление</a:t>
            </a:r>
            <a:r>
              <a:rPr sz="2400" b="1" dirty="0"/>
              <a:t> реестровой</a:t>
            </a:r>
            <a:r>
              <a:rPr sz="2400" b="1" spc="-10" dirty="0"/>
              <a:t> </a:t>
            </a:r>
            <a:r>
              <a:rPr sz="2400" b="1" spc="-5" dirty="0"/>
              <a:t>ошибки</a:t>
            </a:r>
            <a:r>
              <a:rPr sz="2400" b="1" spc="-10" dirty="0"/>
              <a:t> </a:t>
            </a:r>
            <a:r>
              <a:rPr sz="2400" b="1" spc="-5" dirty="0"/>
              <a:t>(изменения</a:t>
            </a:r>
            <a:r>
              <a:rPr sz="2400" b="1" spc="20" dirty="0"/>
              <a:t> </a:t>
            </a:r>
            <a:r>
              <a:rPr sz="2400" b="1" dirty="0"/>
              <a:t>в</a:t>
            </a:r>
            <a:r>
              <a:rPr sz="2400" b="1" spc="5" dirty="0"/>
              <a:t> </a:t>
            </a:r>
            <a:r>
              <a:rPr sz="2400" b="1" spc="-5" dirty="0"/>
              <a:t>статью</a:t>
            </a:r>
            <a:r>
              <a:rPr sz="2400" b="1" dirty="0"/>
              <a:t> </a:t>
            </a:r>
            <a:r>
              <a:rPr sz="2400" b="1" spc="-5" dirty="0"/>
              <a:t>61)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580133" y="1176909"/>
            <a:ext cx="1663700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b="1" spc="-5" dirty="0">
                <a:solidFill>
                  <a:srgbClr val="1F487C"/>
                </a:solidFill>
                <a:latin typeface="Calibri"/>
                <a:cs typeface="Calibri"/>
              </a:rPr>
              <a:t>РО</a:t>
            </a:r>
            <a:r>
              <a:rPr sz="2200" b="1" spc="-5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2200" b="1" spc="-15" dirty="0">
                <a:solidFill>
                  <a:srgbClr val="1F487C"/>
                </a:solidFill>
                <a:latin typeface="Calibri"/>
                <a:cs typeface="Calibri"/>
              </a:rPr>
              <a:t>допущена</a:t>
            </a:r>
            <a:endParaRPr sz="22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04408" y="1251585"/>
            <a:ext cx="2036445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b="1" spc="-5" dirty="0">
                <a:solidFill>
                  <a:srgbClr val="C00000"/>
                </a:solidFill>
                <a:latin typeface="Calibri"/>
                <a:cs typeface="Calibri"/>
              </a:rPr>
              <a:t>Исправление</a:t>
            </a:r>
            <a:r>
              <a:rPr sz="2200" b="1" spc="-35" dirty="0">
                <a:solidFill>
                  <a:srgbClr val="C00000"/>
                </a:solidFill>
                <a:latin typeface="Calibri"/>
                <a:cs typeface="Calibri"/>
              </a:rPr>
              <a:t> </a:t>
            </a:r>
            <a:r>
              <a:rPr sz="2200" b="1" spc="-10" dirty="0">
                <a:solidFill>
                  <a:srgbClr val="C00000"/>
                </a:solidFill>
                <a:latin typeface="Calibri"/>
                <a:cs typeface="Calibri"/>
              </a:rPr>
              <a:t>РО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4765547" y="1976247"/>
            <a:ext cx="825500" cy="1168400"/>
            <a:chOff x="4765547" y="1976247"/>
            <a:chExt cx="825500" cy="1168400"/>
          </a:xfrm>
        </p:grpSpPr>
        <p:sp>
          <p:nvSpPr>
            <p:cNvPr id="7" name="object 7"/>
            <p:cNvSpPr/>
            <p:nvPr/>
          </p:nvSpPr>
          <p:spPr>
            <a:xfrm>
              <a:off x="4778247" y="1988947"/>
              <a:ext cx="800100" cy="1143000"/>
            </a:xfrm>
            <a:custGeom>
              <a:avLst/>
              <a:gdLst/>
              <a:ahLst/>
              <a:cxnLst/>
              <a:rect l="l" t="t" r="r" b="b"/>
              <a:pathLst>
                <a:path w="800100" h="1143000">
                  <a:moveTo>
                    <a:pt x="800100" y="0"/>
                  </a:moveTo>
                  <a:lnTo>
                    <a:pt x="400050" y="400050"/>
                  </a:lnTo>
                  <a:lnTo>
                    <a:pt x="0" y="0"/>
                  </a:lnTo>
                  <a:lnTo>
                    <a:pt x="0" y="742950"/>
                  </a:lnTo>
                  <a:lnTo>
                    <a:pt x="400050" y="1143000"/>
                  </a:lnTo>
                  <a:lnTo>
                    <a:pt x="800100" y="742950"/>
                  </a:lnTo>
                  <a:lnTo>
                    <a:pt x="800100" y="0"/>
                  </a:lnTo>
                  <a:close/>
                </a:path>
              </a:pathLst>
            </a:custGeom>
            <a:solidFill>
              <a:srgbClr val="AD474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4778247" y="1988947"/>
              <a:ext cx="800100" cy="1143000"/>
            </a:xfrm>
            <a:custGeom>
              <a:avLst/>
              <a:gdLst/>
              <a:ahLst/>
              <a:cxnLst/>
              <a:rect l="l" t="t" r="r" b="b"/>
              <a:pathLst>
                <a:path w="800100" h="1143000">
                  <a:moveTo>
                    <a:pt x="800100" y="0"/>
                  </a:moveTo>
                  <a:lnTo>
                    <a:pt x="800100" y="742950"/>
                  </a:lnTo>
                  <a:lnTo>
                    <a:pt x="400050" y="1143000"/>
                  </a:lnTo>
                  <a:lnTo>
                    <a:pt x="0" y="742950"/>
                  </a:lnTo>
                  <a:lnTo>
                    <a:pt x="0" y="0"/>
                  </a:lnTo>
                  <a:lnTo>
                    <a:pt x="400050" y="400050"/>
                  </a:lnTo>
                  <a:lnTo>
                    <a:pt x="800100" y="0"/>
                  </a:lnTo>
                  <a:close/>
                </a:path>
              </a:pathLst>
            </a:custGeom>
            <a:ln w="25400">
              <a:solidFill>
                <a:srgbClr val="AD474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5096002" y="2347722"/>
            <a:ext cx="167005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565647" y="2048129"/>
            <a:ext cx="3533775" cy="768350"/>
            <a:chOff x="5565647" y="2048129"/>
            <a:chExt cx="3533775" cy="768350"/>
          </a:xfrm>
        </p:grpSpPr>
        <p:sp>
          <p:nvSpPr>
            <p:cNvPr id="11" name="object 11"/>
            <p:cNvSpPr/>
            <p:nvPr/>
          </p:nvSpPr>
          <p:spPr>
            <a:xfrm>
              <a:off x="5578347" y="2060829"/>
              <a:ext cx="3508375" cy="742950"/>
            </a:xfrm>
            <a:custGeom>
              <a:avLst/>
              <a:gdLst/>
              <a:ahLst/>
              <a:cxnLst/>
              <a:rect l="l" t="t" r="r" b="b"/>
              <a:pathLst>
                <a:path w="3508375" h="742950">
                  <a:moveTo>
                    <a:pt x="3384550" y="0"/>
                  </a:moveTo>
                  <a:lnTo>
                    <a:pt x="0" y="0"/>
                  </a:lnTo>
                  <a:lnTo>
                    <a:pt x="0" y="742950"/>
                  </a:lnTo>
                  <a:lnTo>
                    <a:pt x="3384550" y="742950"/>
                  </a:lnTo>
                  <a:lnTo>
                    <a:pt x="3432722" y="733228"/>
                  </a:lnTo>
                  <a:lnTo>
                    <a:pt x="3472084" y="706707"/>
                  </a:lnTo>
                  <a:lnTo>
                    <a:pt x="3498635" y="667351"/>
                  </a:lnTo>
                  <a:lnTo>
                    <a:pt x="3508375" y="619125"/>
                  </a:lnTo>
                  <a:lnTo>
                    <a:pt x="3508375" y="123825"/>
                  </a:lnTo>
                  <a:lnTo>
                    <a:pt x="3498635" y="75652"/>
                  </a:lnTo>
                  <a:lnTo>
                    <a:pt x="3472084" y="36290"/>
                  </a:lnTo>
                  <a:lnTo>
                    <a:pt x="3432722" y="9739"/>
                  </a:lnTo>
                  <a:lnTo>
                    <a:pt x="3384550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578347" y="2060829"/>
              <a:ext cx="3508375" cy="742950"/>
            </a:xfrm>
            <a:custGeom>
              <a:avLst/>
              <a:gdLst/>
              <a:ahLst/>
              <a:cxnLst/>
              <a:rect l="l" t="t" r="r" b="b"/>
              <a:pathLst>
                <a:path w="3508375" h="742950">
                  <a:moveTo>
                    <a:pt x="3508375" y="123825"/>
                  </a:moveTo>
                  <a:lnTo>
                    <a:pt x="3508375" y="619125"/>
                  </a:lnTo>
                  <a:lnTo>
                    <a:pt x="3498635" y="667351"/>
                  </a:lnTo>
                  <a:lnTo>
                    <a:pt x="3472084" y="706707"/>
                  </a:lnTo>
                  <a:lnTo>
                    <a:pt x="3432722" y="733228"/>
                  </a:lnTo>
                  <a:lnTo>
                    <a:pt x="3384550" y="742950"/>
                  </a:lnTo>
                  <a:lnTo>
                    <a:pt x="0" y="742950"/>
                  </a:lnTo>
                  <a:lnTo>
                    <a:pt x="0" y="0"/>
                  </a:lnTo>
                  <a:lnTo>
                    <a:pt x="3384550" y="0"/>
                  </a:lnTo>
                  <a:lnTo>
                    <a:pt x="3432722" y="9739"/>
                  </a:lnTo>
                  <a:lnTo>
                    <a:pt x="3472084" y="36290"/>
                  </a:lnTo>
                  <a:lnTo>
                    <a:pt x="3498635" y="75652"/>
                  </a:lnTo>
                  <a:lnTo>
                    <a:pt x="3508375" y="123825"/>
                  </a:lnTo>
                  <a:close/>
                </a:path>
              </a:pathLst>
            </a:custGeom>
            <a:ln w="25400">
              <a:solidFill>
                <a:srgbClr val="AD4745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5723001" y="2219020"/>
            <a:ext cx="2072639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indent="-229235">
              <a:lnSpc>
                <a:spcPct val="100000"/>
              </a:lnSpc>
              <a:spcBef>
                <a:spcPts val="95"/>
              </a:spcBef>
              <a:buChar char="•"/>
              <a:tabLst>
                <a:tab pos="241935" algn="l"/>
              </a:tabLst>
            </a:pPr>
            <a:r>
              <a:rPr sz="2200" spc="-5" dirty="0">
                <a:latin typeface="Calibri"/>
                <a:cs typeface="Calibri"/>
              </a:rPr>
              <a:t>ГКУ</a:t>
            </a:r>
            <a:r>
              <a:rPr sz="2200" spc="-60" dirty="0">
                <a:latin typeface="Calibri"/>
                <a:cs typeface="Calibri"/>
              </a:rPr>
              <a:t> </a:t>
            </a:r>
            <a:r>
              <a:rPr sz="2200" spc="-5" dirty="0">
                <a:latin typeface="Calibri"/>
                <a:cs typeface="Calibri"/>
              </a:rPr>
              <a:t>изменений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765547" y="2916808"/>
            <a:ext cx="825500" cy="1168400"/>
            <a:chOff x="4765547" y="2916808"/>
            <a:chExt cx="825500" cy="1168400"/>
          </a:xfrm>
        </p:grpSpPr>
        <p:sp>
          <p:nvSpPr>
            <p:cNvPr id="15" name="object 15"/>
            <p:cNvSpPr/>
            <p:nvPr/>
          </p:nvSpPr>
          <p:spPr>
            <a:xfrm>
              <a:off x="4778247" y="2929508"/>
              <a:ext cx="800100" cy="1143000"/>
            </a:xfrm>
            <a:custGeom>
              <a:avLst/>
              <a:gdLst/>
              <a:ahLst/>
              <a:cxnLst/>
              <a:rect l="l" t="t" r="r" b="b"/>
              <a:pathLst>
                <a:path w="800100" h="1143000">
                  <a:moveTo>
                    <a:pt x="800100" y="0"/>
                  </a:moveTo>
                  <a:lnTo>
                    <a:pt x="400050" y="400050"/>
                  </a:lnTo>
                  <a:lnTo>
                    <a:pt x="0" y="0"/>
                  </a:lnTo>
                  <a:lnTo>
                    <a:pt x="0" y="742949"/>
                  </a:lnTo>
                  <a:lnTo>
                    <a:pt x="400050" y="1142999"/>
                  </a:lnTo>
                  <a:lnTo>
                    <a:pt x="800100" y="742949"/>
                  </a:lnTo>
                  <a:lnTo>
                    <a:pt x="800100" y="0"/>
                  </a:lnTo>
                  <a:close/>
                </a:path>
              </a:pathLst>
            </a:custGeom>
            <a:solidFill>
              <a:srgbClr val="C471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778247" y="2929508"/>
              <a:ext cx="800100" cy="1143000"/>
            </a:xfrm>
            <a:custGeom>
              <a:avLst/>
              <a:gdLst/>
              <a:ahLst/>
              <a:cxnLst/>
              <a:rect l="l" t="t" r="r" b="b"/>
              <a:pathLst>
                <a:path w="800100" h="1143000">
                  <a:moveTo>
                    <a:pt x="800100" y="0"/>
                  </a:moveTo>
                  <a:lnTo>
                    <a:pt x="800100" y="742949"/>
                  </a:lnTo>
                  <a:lnTo>
                    <a:pt x="400050" y="1142999"/>
                  </a:lnTo>
                  <a:lnTo>
                    <a:pt x="0" y="742949"/>
                  </a:lnTo>
                  <a:lnTo>
                    <a:pt x="0" y="0"/>
                  </a:lnTo>
                  <a:lnTo>
                    <a:pt x="400050" y="400050"/>
                  </a:lnTo>
                  <a:lnTo>
                    <a:pt x="800100" y="0"/>
                  </a:lnTo>
                  <a:close/>
                </a:path>
              </a:pathLst>
            </a:custGeom>
            <a:ln w="25400">
              <a:solidFill>
                <a:srgbClr val="C471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5096002" y="3287979"/>
            <a:ext cx="167005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5565647" y="2916808"/>
            <a:ext cx="3533775" cy="768350"/>
            <a:chOff x="5565647" y="2916808"/>
            <a:chExt cx="3533775" cy="768350"/>
          </a:xfrm>
        </p:grpSpPr>
        <p:sp>
          <p:nvSpPr>
            <p:cNvPr id="19" name="object 19"/>
            <p:cNvSpPr/>
            <p:nvPr/>
          </p:nvSpPr>
          <p:spPr>
            <a:xfrm>
              <a:off x="5578347" y="2929508"/>
              <a:ext cx="3508375" cy="742950"/>
            </a:xfrm>
            <a:custGeom>
              <a:avLst/>
              <a:gdLst/>
              <a:ahLst/>
              <a:cxnLst/>
              <a:rect l="l" t="t" r="r" b="b"/>
              <a:pathLst>
                <a:path w="3508375" h="742950">
                  <a:moveTo>
                    <a:pt x="3384550" y="0"/>
                  </a:moveTo>
                  <a:lnTo>
                    <a:pt x="0" y="0"/>
                  </a:lnTo>
                  <a:lnTo>
                    <a:pt x="0" y="742949"/>
                  </a:lnTo>
                  <a:lnTo>
                    <a:pt x="3384550" y="742949"/>
                  </a:lnTo>
                  <a:lnTo>
                    <a:pt x="3432722" y="733210"/>
                  </a:lnTo>
                  <a:lnTo>
                    <a:pt x="3472084" y="706659"/>
                  </a:lnTo>
                  <a:lnTo>
                    <a:pt x="3498635" y="667297"/>
                  </a:lnTo>
                  <a:lnTo>
                    <a:pt x="3508375" y="619125"/>
                  </a:lnTo>
                  <a:lnTo>
                    <a:pt x="3508375" y="123825"/>
                  </a:lnTo>
                  <a:lnTo>
                    <a:pt x="3498635" y="75652"/>
                  </a:lnTo>
                  <a:lnTo>
                    <a:pt x="3472084" y="36290"/>
                  </a:lnTo>
                  <a:lnTo>
                    <a:pt x="3432722" y="9739"/>
                  </a:lnTo>
                  <a:lnTo>
                    <a:pt x="3384550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5578347" y="2929508"/>
              <a:ext cx="3508375" cy="742950"/>
            </a:xfrm>
            <a:custGeom>
              <a:avLst/>
              <a:gdLst/>
              <a:ahLst/>
              <a:cxnLst/>
              <a:rect l="l" t="t" r="r" b="b"/>
              <a:pathLst>
                <a:path w="3508375" h="742950">
                  <a:moveTo>
                    <a:pt x="3508375" y="123825"/>
                  </a:moveTo>
                  <a:lnTo>
                    <a:pt x="3508375" y="619125"/>
                  </a:lnTo>
                  <a:lnTo>
                    <a:pt x="3498635" y="667297"/>
                  </a:lnTo>
                  <a:lnTo>
                    <a:pt x="3472084" y="706659"/>
                  </a:lnTo>
                  <a:lnTo>
                    <a:pt x="3432722" y="733210"/>
                  </a:lnTo>
                  <a:lnTo>
                    <a:pt x="3384550" y="742949"/>
                  </a:lnTo>
                  <a:lnTo>
                    <a:pt x="0" y="742949"/>
                  </a:lnTo>
                  <a:lnTo>
                    <a:pt x="0" y="0"/>
                  </a:lnTo>
                  <a:lnTo>
                    <a:pt x="3384550" y="0"/>
                  </a:lnTo>
                  <a:lnTo>
                    <a:pt x="3432722" y="9739"/>
                  </a:lnTo>
                  <a:lnTo>
                    <a:pt x="3472084" y="36290"/>
                  </a:lnTo>
                  <a:lnTo>
                    <a:pt x="3498635" y="75652"/>
                  </a:lnTo>
                  <a:lnTo>
                    <a:pt x="3508375" y="123825"/>
                  </a:lnTo>
                  <a:close/>
                </a:path>
              </a:pathLst>
            </a:custGeom>
            <a:ln w="25400">
              <a:solidFill>
                <a:srgbClr val="C4716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5723001" y="3088386"/>
            <a:ext cx="797560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indent="-229235">
              <a:lnSpc>
                <a:spcPct val="100000"/>
              </a:lnSpc>
              <a:spcBef>
                <a:spcPts val="95"/>
              </a:spcBef>
              <a:buChar char="•"/>
              <a:tabLst>
                <a:tab pos="241935" algn="l"/>
              </a:tabLst>
            </a:pPr>
            <a:r>
              <a:rPr sz="2200" spc="-5" dirty="0">
                <a:latin typeface="Calibri"/>
                <a:cs typeface="Calibri"/>
              </a:rPr>
              <a:t>МЭВ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765547" y="3857371"/>
            <a:ext cx="825500" cy="1168400"/>
            <a:chOff x="4765547" y="3857371"/>
            <a:chExt cx="825500" cy="1168400"/>
          </a:xfrm>
        </p:grpSpPr>
        <p:sp>
          <p:nvSpPr>
            <p:cNvPr id="23" name="object 23"/>
            <p:cNvSpPr/>
            <p:nvPr/>
          </p:nvSpPr>
          <p:spPr>
            <a:xfrm>
              <a:off x="4778247" y="3870071"/>
              <a:ext cx="800100" cy="1143000"/>
            </a:xfrm>
            <a:custGeom>
              <a:avLst/>
              <a:gdLst/>
              <a:ahLst/>
              <a:cxnLst/>
              <a:rect l="l" t="t" r="r" b="b"/>
              <a:pathLst>
                <a:path w="800100" h="1143000">
                  <a:moveTo>
                    <a:pt x="800100" y="0"/>
                  </a:moveTo>
                  <a:lnTo>
                    <a:pt x="400050" y="400049"/>
                  </a:lnTo>
                  <a:lnTo>
                    <a:pt x="0" y="0"/>
                  </a:lnTo>
                  <a:lnTo>
                    <a:pt x="0" y="742949"/>
                  </a:lnTo>
                  <a:lnTo>
                    <a:pt x="400050" y="1142999"/>
                  </a:lnTo>
                  <a:lnTo>
                    <a:pt x="800100" y="742949"/>
                  </a:lnTo>
                  <a:lnTo>
                    <a:pt x="800100" y="0"/>
                  </a:lnTo>
                  <a:close/>
                </a:path>
              </a:pathLst>
            </a:custGeom>
            <a:solidFill>
              <a:srgbClr val="D5A09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778247" y="3870071"/>
              <a:ext cx="800100" cy="1143000"/>
            </a:xfrm>
            <a:custGeom>
              <a:avLst/>
              <a:gdLst/>
              <a:ahLst/>
              <a:cxnLst/>
              <a:rect l="l" t="t" r="r" b="b"/>
              <a:pathLst>
                <a:path w="800100" h="1143000">
                  <a:moveTo>
                    <a:pt x="800100" y="0"/>
                  </a:moveTo>
                  <a:lnTo>
                    <a:pt x="800100" y="742949"/>
                  </a:lnTo>
                  <a:lnTo>
                    <a:pt x="400050" y="1142999"/>
                  </a:lnTo>
                  <a:lnTo>
                    <a:pt x="0" y="742949"/>
                  </a:lnTo>
                  <a:lnTo>
                    <a:pt x="0" y="0"/>
                  </a:lnTo>
                  <a:lnTo>
                    <a:pt x="400050" y="400049"/>
                  </a:lnTo>
                  <a:lnTo>
                    <a:pt x="800100" y="0"/>
                  </a:lnTo>
                  <a:close/>
                </a:path>
              </a:pathLst>
            </a:custGeom>
            <a:ln w="25400">
              <a:solidFill>
                <a:srgbClr val="D5A09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5096002" y="4229227"/>
            <a:ext cx="167005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200" spc="-5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5565647" y="3857371"/>
            <a:ext cx="3533775" cy="768350"/>
            <a:chOff x="5565647" y="3857371"/>
            <a:chExt cx="3533775" cy="768350"/>
          </a:xfrm>
        </p:grpSpPr>
        <p:sp>
          <p:nvSpPr>
            <p:cNvPr id="27" name="object 27"/>
            <p:cNvSpPr/>
            <p:nvPr/>
          </p:nvSpPr>
          <p:spPr>
            <a:xfrm>
              <a:off x="5578347" y="3870071"/>
              <a:ext cx="3508375" cy="742950"/>
            </a:xfrm>
            <a:custGeom>
              <a:avLst/>
              <a:gdLst/>
              <a:ahLst/>
              <a:cxnLst/>
              <a:rect l="l" t="t" r="r" b="b"/>
              <a:pathLst>
                <a:path w="3508375" h="742950">
                  <a:moveTo>
                    <a:pt x="3384550" y="0"/>
                  </a:moveTo>
                  <a:lnTo>
                    <a:pt x="0" y="0"/>
                  </a:lnTo>
                  <a:lnTo>
                    <a:pt x="0" y="742949"/>
                  </a:lnTo>
                  <a:lnTo>
                    <a:pt x="3384550" y="742949"/>
                  </a:lnTo>
                  <a:lnTo>
                    <a:pt x="3432722" y="733210"/>
                  </a:lnTo>
                  <a:lnTo>
                    <a:pt x="3472084" y="706659"/>
                  </a:lnTo>
                  <a:lnTo>
                    <a:pt x="3498635" y="667297"/>
                  </a:lnTo>
                  <a:lnTo>
                    <a:pt x="3508375" y="619124"/>
                  </a:lnTo>
                  <a:lnTo>
                    <a:pt x="3508375" y="123824"/>
                  </a:lnTo>
                  <a:lnTo>
                    <a:pt x="3498635" y="75598"/>
                  </a:lnTo>
                  <a:lnTo>
                    <a:pt x="3472084" y="36242"/>
                  </a:lnTo>
                  <a:lnTo>
                    <a:pt x="3432722" y="9721"/>
                  </a:lnTo>
                  <a:lnTo>
                    <a:pt x="3384550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5578347" y="3870071"/>
              <a:ext cx="3508375" cy="742950"/>
            </a:xfrm>
            <a:custGeom>
              <a:avLst/>
              <a:gdLst/>
              <a:ahLst/>
              <a:cxnLst/>
              <a:rect l="l" t="t" r="r" b="b"/>
              <a:pathLst>
                <a:path w="3508375" h="742950">
                  <a:moveTo>
                    <a:pt x="3508375" y="123824"/>
                  </a:moveTo>
                  <a:lnTo>
                    <a:pt x="3508375" y="619124"/>
                  </a:lnTo>
                  <a:lnTo>
                    <a:pt x="3498635" y="667297"/>
                  </a:lnTo>
                  <a:lnTo>
                    <a:pt x="3472084" y="706659"/>
                  </a:lnTo>
                  <a:lnTo>
                    <a:pt x="3432722" y="733210"/>
                  </a:lnTo>
                  <a:lnTo>
                    <a:pt x="3384550" y="742949"/>
                  </a:lnTo>
                  <a:lnTo>
                    <a:pt x="0" y="742949"/>
                  </a:lnTo>
                  <a:lnTo>
                    <a:pt x="0" y="0"/>
                  </a:lnTo>
                  <a:lnTo>
                    <a:pt x="3384550" y="0"/>
                  </a:lnTo>
                  <a:lnTo>
                    <a:pt x="3432722" y="9721"/>
                  </a:lnTo>
                  <a:lnTo>
                    <a:pt x="3472084" y="36242"/>
                  </a:lnTo>
                  <a:lnTo>
                    <a:pt x="3498635" y="75598"/>
                  </a:lnTo>
                  <a:lnTo>
                    <a:pt x="3508375" y="123824"/>
                  </a:lnTo>
                  <a:close/>
                </a:path>
              </a:pathLst>
            </a:custGeom>
            <a:ln w="25400">
              <a:solidFill>
                <a:srgbClr val="D5A09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5723001" y="3875659"/>
            <a:ext cx="2303780" cy="668020"/>
          </a:xfrm>
          <a:prstGeom prst="rect">
            <a:avLst/>
          </a:prstGeom>
        </p:spPr>
        <p:txBody>
          <a:bodyPr vert="horz" wrap="square" lIns="0" tIns="45719" rIns="0" bIns="0" rtlCol="0">
            <a:spAutoFit/>
          </a:bodyPr>
          <a:lstStyle/>
          <a:p>
            <a:pPr marL="241300" marR="5080" indent="-229235">
              <a:lnSpc>
                <a:spcPts val="2420"/>
              </a:lnSpc>
              <a:spcBef>
                <a:spcPts val="359"/>
              </a:spcBef>
              <a:buChar char="•"/>
              <a:tabLst>
                <a:tab pos="241935" algn="l"/>
              </a:tabLst>
            </a:pPr>
            <a:r>
              <a:rPr sz="2200" spc="-70" dirty="0">
                <a:latin typeface="Calibri"/>
                <a:cs typeface="Calibri"/>
              </a:rPr>
              <a:t>У</a:t>
            </a:r>
            <a:r>
              <a:rPr sz="2200" spc="-5" dirty="0">
                <a:latin typeface="Calibri"/>
                <a:cs typeface="Calibri"/>
              </a:rPr>
              <a:t>в</a:t>
            </a:r>
            <a:r>
              <a:rPr sz="2200" spc="-25" dirty="0">
                <a:latin typeface="Calibri"/>
                <a:cs typeface="Calibri"/>
              </a:rPr>
              <a:t>е</a:t>
            </a:r>
            <a:r>
              <a:rPr sz="2200" spc="-30" dirty="0">
                <a:latin typeface="Calibri"/>
                <a:cs typeface="Calibri"/>
              </a:rPr>
              <a:t>д</a:t>
            </a:r>
            <a:r>
              <a:rPr sz="2200" dirty="0">
                <a:latin typeface="Calibri"/>
                <a:cs typeface="Calibri"/>
              </a:rPr>
              <a:t>о</a:t>
            </a:r>
            <a:r>
              <a:rPr sz="2200" spc="-10" dirty="0">
                <a:latin typeface="Calibri"/>
                <a:cs typeface="Calibri"/>
              </a:rPr>
              <a:t>м</a:t>
            </a:r>
            <a:r>
              <a:rPr sz="2200" dirty="0">
                <a:latin typeface="Calibri"/>
                <a:cs typeface="Calibri"/>
              </a:rPr>
              <a:t>и</a:t>
            </a:r>
            <a:r>
              <a:rPr sz="2200" spc="-30" dirty="0">
                <a:latin typeface="Calibri"/>
                <a:cs typeface="Calibri"/>
              </a:rPr>
              <a:t>т</a:t>
            </a:r>
            <a:r>
              <a:rPr sz="2200" spc="-40" dirty="0">
                <a:latin typeface="Calibri"/>
                <a:cs typeface="Calibri"/>
              </a:rPr>
              <a:t>е</a:t>
            </a:r>
            <a:r>
              <a:rPr sz="2200" spc="-10" dirty="0">
                <a:latin typeface="Calibri"/>
                <a:cs typeface="Calibri"/>
              </a:rPr>
              <a:t>льн</a:t>
            </a:r>
            <a:r>
              <a:rPr sz="2200" dirty="0">
                <a:latin typeface="Calibri"/>
                <a:cs typeface="Calibri"/>
              </a:rPr>
              <a:t>ы</a:t>
            </a:r>
            <a:r>
              <a:rPr sz="2200" spc="-5" dirty="0">
                <a:latin typeface="Calibri"/>
                <a:cs typeface="Calibri"/>
              </a:rPr>
              <a:t>й  порядок</a:t>
            </a:r>
            <a:endParaRPr sz="2200">
              <a:latin typeface="Calibri"/>
              <a:cs typeface="Calibri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242684" y="1581403"/>
            <a:ext cx="758190" cy="1071880"/>
            <a:chOff x="242684" y="1581403"/>
            <a:chExt cx="758190" cy="1071880"/>
          </a:xfrm>
        </p:grpSpPr>
        <p:sp>
          <p:nvSpPr>
            <p:cNvPr id="31" name="object 31"/>
            <p:cNvSpPr/>
            <p:nvPr/>
          </p:nvSpPr>
          <p:spPr>
            <a:xfrm>
              <a:off x="255384" y="1594103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80">
                  <a:moveTo>
                    <a:pt x="732459" y="0"/>
                  </a:moveTo>
                  <a:lnTo>
                    <a:pt x="366229" y="366268"/>
                  </a:lnTo>
                  <a:lnTo>
                    <a:pt x="0" y="0"/>
                  </a:lnTo>
                  <a:lnTo>
                    <a:pt x="0" y="680085"/>
                  </a:lnTo>
                  <a:lnTo>
                    <a:pt x="366229" y="1046353"/>
                  </a:lnTo>
                  <a:lnTo>
                    <a:pt x="732459" y="680085"/>
                  </a:lnTo>
                  <a:lnTo>
                    <a:pt x="732459" y="0"/>
                  </a:lnTo>
                  <a:close/>
                </a:path>
              </a:pathLst>
            </a:custGeom>
            <a:solidFill>
              <a:srgbClr val="385D8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255384" y="1594103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80">
                  <a:moveTo>
                    <a:pt x="732459" y="0"/>
                  </a:moveTo>
                  <a:lnTo>
                    <a:pt x="732459" y="680085"/>
                  </a:lnTo>
                  <a:lnTo>
                    <a:pt x="366229" y="1046353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66229" y="366268"/>
                  </a:lnTo>
                  <a:lnTo>
                    <a:pt x="732459" y="0"/>
                  </a:lnTo>
                  <a:close/>
                </a:path>
              </a:pathLst>
            </a:custGeom>
            <a:ln w="25400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543255" y="1921256"/>
            <a:ext cx="15494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000">
              <a:latin typeface="Calibri"/>
              <a:cs typeface="Calibri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975144" y="1581403"/>
            <a:ext cx="3529965" cy="705485"/>
            <a:chOff x="975144" y="1581403"/>
            <a:chExt cx="3529965" cy="705485"/>
          </a:xfrm>
        </p:grpSpPr>
        <p:sp>
          <p:nvSpPr>
            <p:cNvPr id="35" name="object 35"/>
            <p:cNvSpPr/>
            <p:nvPr/>
          </p:nvSpPr>
          <p:spPr>
            <a:xfrm>
              <a:off x="987844" y="1594103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390607" y="0"/>
                  </a:moveTo>
                  <a:lnTo>
                    <a:pt x="0" y="0"/>
                  </a:lnTo>
                  <a:lnTo>
                    <a:pt x="0" y="680085"/>
                  </a:lnTo>
                  <a:lnTo>
                    <a:pt x="3390607" y="680085"/>
                  </a:lnTo>
                  <a:lnTo>
                    <a:pt x="3434742" y="671189"/>
                  </a:lnTo>
                  <a:lnTo>
                    <a:pt x="3470792" y="646922"/>
                  </a:lnTo>
                  <a:lnTo>
                    <a:pt x="3495103" y="610915"/>
                  </a:lnTo>
                  <a:lnTo>
                    <a:pt x="3504018" y="566801"/>
                  </a:lnTo>
                  <a:lnTo>
                    <a:pt x="3504018" y="113411"/>
                  </a:lnTo>
                  <a:lnTo>
                    <a:pt x="3495103" y="69276"/>
                  </a:lnTo>
                  <a:lnTo>
                    <a:pt x="3470792" y="33226"/>
                  </a:lnTo>
                  <a:lnTo>
                    <a:pt x="3434742" y="8915"/>
                  </a:lnTo>
                  <a:lnTo>
                    <a:pt x="3390607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987844" y="1594103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504018" y="113411"/>
                  </a:moveTo>
                  <a:lnTo>
                    <a:pt x="3504018" y="566801"/>
                  </a:lnTo>
                  <a:lnTo>
                    <a:pt x="3495103" y="610915"/>
                  </a:lnTo>
                  <a:lnTo>
                    <a:pt x="3470792" y="646922"/>
                  </a:lnTo>
                  <a:lnTo>
                    <a:pt x="3434742" y="671189"/>
                  </a:lnTo>
                  <a:lnTo>
                    <a:pt x="3390607" y="680085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390607" y="0"/>
                  </a:lnTo>
                  <a:lnTo>
                    <a:pt x="3434742" y="8915"/>
                  </a:lnTo>
                  <a:lnTo>
                    <a:pt x="3470792" y="33226"/>
                  </a:lnTo>
                  <a:lnTo>
                    <a:pt x="3495103" y="69276"/>
                  </a:lnTo>
                  <a:lnTo>
                    <a:pt x="3504018" y="113411"/>
                  </a:lnTo>
                  <a:close/>
                </a:path>
              </a:pathLst>
            </a:custGeom>
            <a:ln w="25399">
              <a:solidFill>
                <a:srgbClr val="385D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1124813" y="1729866"/>
            <a:ext cx="1991360" cy="345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9235">
              <a:lnSpc>
                <a:spcPct val="100000"/>
              </a:lnSpc>
              <a:spcBef>
                <a:spcPts val="100"/>
              </a:spcBef>
              <a:buChar char="•"/>
              <a:tabLst>
                <a:tab pos="241935" algn="l"/>
              </a:tabLst>
            </a:pPr>
            <a:r>
              <a:rPr sz="2100" dirty="0">
                <a:latin typeface="Calibri"/>
                <a:cs typeface="Calibri"/>
              </a:rPr>
              <a:t>ГКУ</a:t>
            </a:r>
            <a:r>
              <a:rPr sz="2100" spc="-95" dirty="0">
                <a:latin typeface="Calibri"/>
                <a:cs typeface="Calibri"/>
              </a:rPr>
              <a:t> </a:t>
            </a:r>
            <a:r>
              <a:rPr sz="2100" dirty="0">
                <a:latin typeface="Calibri"/>
                <a:cs typeface="Calibri"/>
              </a:rPr>
              <a:t>изменений</a:t>
            </a:r>
            <a:endParaRPr sz="2100">
              <a:latin typeface="Calibri"/>
              <a:cs typeface="Calibri"/>
            </a:endParaRPr>
          </a:p>
        </p:txBody>
      </p:sp>
      <p:grpSp>
        <p:nvGrpSpPr>
          <p:cNvPr id="38" name="object 38"/>
          <p:cNvGrpSpPr/>
          <p:nvPr/>
        </p:nvGrpSpPr>
        <p:grpSpPr>
          <a:xfrm>
            <a:off x="242684" y="2477897"/>
            <a:ext cx="758190" cy="1071880"/>
            <a:chOff x="242684" y="2477897"/>
            <a:chExt cx="758190" cy="1071880"/>
          </a:xfrm>
        </p:grpSpPr>
        <p:sp>
          <p:nvSpPr>
            <p:cNvPr id="39" name="object 39"/>
            <p:cNvSpPr/>
            <p:nvPr/>
          </p:nvSpPr>
          <p:spPr>
            <a:xfrm>
              <a:off x="255384" y="2490597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79">
                  <a:moveTo>
                    <a:pt x="732459" y="0"/>
                  </a:moveTo>
                  <a:lnTo>
                    <a:pt x="366229" y="366267"/>
                  </a:lnTo>
                  <a:lnTo>
                    <a:pt x="0" y="0"/>
                  </a:lnTo>
                  <a:lnTo>
                    <a:pt x="0" y="680085"/>
                  </a:lnTo>
                  <a:lnTo>
                    <a:pt x="366229" y="1046352"/>
                  </a:lnTo>
                  <a:lnTo>
                    <a:pt x="732459" y="680085"/>
                  </a:lnTo>
                  <a:lnTo>
                    <a:pt x="732459" y="0"/>
                  </a:lnTo>
                  <a:close/>
                </a:path>
              </a:pathLst>
            </a:custGeom>
            <a:solidFill>
              <a:srgbClr val="6D8F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255384" y="2490597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79">
                  <a:moveTo>
                    <a:pt x="732459" y="0"/>
                  </a:moveTo>
                  <a:lnTo>
                    <a:pt x="732459" y="680085"/>
                  </a:lnTo>
                  <a:lnTo>
                    <a:pt x="366229" y="1046352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66229" y="366267"/>
                  </a:lnTo>
                  <a:lnTo>
                    <a:pt x="732459" y="0"/>
                  </a:lnTo>
                  <a:close/>
                </a:path>
              </a:pathLst>
            </a:custGeom>
            <a:ln w="25399">
              <a:solidFill>
                <a:srgbClr val="6D8F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1" name="object 41"/>
          <p:cNvSpPr txBox="1"/>
          <p:nvPr/>
        </p:nvSpPr>
        <p:spPr>
          <a:xfrm>
            <a:off x="543255" y="2818002"/>
            <a:ext cx="15494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000">
              <a:latin typeface="Calibri"/>
              <a:cs typeface="Calibri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975144" y="2477897"/>
            <a:ext cx="3529965" cy="705485"/>
            <a:chOff x="975144" y="2477897"/>
            <a:chExt cx="3529965" cy="705485"/>
          </a:xfrm>
        </p:grpSpPr>
        <p:sp>
          <p:nvSpPr>
            <p:cNvPr id="43" name="object 43"/>
            <p:cNvSpPr/>
            <p:nvPr/>
          </p:nvSpPr>
          <p:spPr>
            <a:xfrm>
              <a:off x="987844" y="2490597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390607" y="0"/>
                  </a:moveTo>
                  <a:lnTo>
                    <a:pt x="0" y="0"/>
                  </a:lnTo>
                  <a:lnTo>
                    <a:pt x="0" y="680085"/>
                  </a:lnTo>
                  <a:lnTo>
                    <a:pt x="3390607" y="680085"/>
                  </a:lnTo>
                  <a:lnTo>
                    <a:pt x="3434742" y="671189"/>
                  </a:lnTo>
                  <a:lnTo>
                    <a:pt x="3470792" y="646922"/>
                  </a:lnTo>
                  <a:lnTo>
                    <a:pt x="3495103" y="610915"/>
                  </a:lnTo>
                  <a:lnTo>
                    <a:pt x="3504018" y="566801"/>
                  </a:lnTo>
                  <a:lnTo>
                    <a:pt x="3504018" y="113411"/>
                  </a:lnTo>
                  <a:lnTo>
                    <a:pt x="3495103" y="69276"/>
                  </a:lnTo>
                  <a:lnTo>
                    <a:pt x="3470792" y="33226"/>
                  </a:lnTo>
                  <a:lnTo>
                    <a:pt x="3434742" y="8915"/>
                  </a:lnTo>
                  <a:lnTo>
                    <a:pt x="3390607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987844" y="2490597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504018" y="113411"/>
                  </a:moveTo>
                  <a:lnTo>
                    <a:pt x="3504018" y="566801"/>
                  </a:lnTo>
                  <a:lnTo>
                    <a:pt x="3495103" y="610915"/>
                  </a:lnTo>
                  <a:lnTo>
                    <a:pt x="3470792" y="646922"/>
                  </a:lnTo>
                  <a:lnTo>
                    <a:pt x="3434742" y="671189"/>
                  </a:lnTo>
                  <a:lnTo>
                    <a:pt x="3390607" y="680085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390607" y="0"/>
                  </a:lnTo>
                  <a:lnTo>
                    <a:pt x="3434742" y="8915"/>
                  </a:lnTo>
                  <a:lnTo>
                    <a:pt x="3470792" y="33226"/>
                  </a:lnTo>
                  <a:lnTo>
                    <a:pt x="3495103" y="69276"/>
                  </a:lnTo>
                  <a:lnTo>
                    <a:pt x="3504018" y="113411"/>
                  </a:lnTo>
                  <a:close/>
                </a:path>
              </a:pathLst>
            </a:custGeom>
            <a:ln w="25399">
              <a:solidFill>
                <a:srgbClr val="6D8F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1124813" y="2626309"/>
            <a:ext cx="774065" cy="3460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9235">
              <a:lnSpc>
                <a:spcPct val="100000"/>
              </a:lnSpc>
              <a:spcBef>
                <a:spcPts val="100"/>
              </a:spcBef>
              <a:buChar char="•"/>
              <a:tabLst>
                <a:tab pos="241935" algn="l"/>
              </a:tabLst>
            </a:pPr>
            <a:r>
              <a:rPr sz="2100" dirty="0">
                <a:latin typeface="Calibri"/>
                <a:cs typeface="Calibri"/>
              </a:rPr>
              <a:t>МЭВ</a:t>
            </a:r>
            <a:endParaRPr sz="2100">
              <a:latin typeface="Calibri"/>
              <a:cs typeface="Calibri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242684" y="3374390"/>
            <a:ext cx="758190" cy="1071880"/>
            <a:chOff x="242684" y="3374390"/>
            <a:chExt cx="758190" cy="1071880"/>
          </a:xfrm>
        </p:grpSpPr>
        <p:sp>
          <p:nvSpPr>
            <p:cNvPr id="47" name="object 47"/>
            <p:cNvSpPr/>
            <p:nvPr/>
          </p:nvSpPr>
          <p:spPr>
            <a:xfrm>
              <a:off x="255384" y="3387090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79">
                  <a:moveTo>
                    <a:pt x="732459" y="0"/>
                  </a:moveTo>
                  <a:lnTo>
                    <a:pt x="366229" y="366268"/>
                  </a:lnTo>
                  <a:lnTo>
                    <a:pt x="0" y="0"/>
                  </a:lnTo>
                  <a:lnTo>
                    <a:pt x="0" y="680085"/>
                  </a:lnTo>
                  <a:lnTo>
                    <a:pt x="366229" y="1046353"/>
                  </a:lnTo>
                  <a:lnTo>
                    <a:pt x="732459" y="680085"/>
                  </a:lnTo>
                  <a:lnTo>
                    <a:pt x="732459" y="0"/>
                  </a:lnTo>
                  <a:close/>
                </a:path>
              </a:pathLst>
            </a:custGeom>
            <a:solidFill>
              <a:srgbClr val="B9C6D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55384" y="3387090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79">
                  <a:moveTo>
                    <a:pt x="732459" y="0"/>
                  </a:moveTo>
                  <a:lnTo>
                    <a:pt x="732459" y="680085"/>
                  </a:lnTo>
                  <a:lnTo>
                    <a:pt x="366229" y="1046353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66229" y="366268"/>
                  </a:lnTo>
                  <a:lnTo>
                    <a:pt x="732459" y="0"/>
                  </a:lnTo>
                  <a:close/>
                </a:path>
              </a:pathLst>
            </a:custGeom>
            <a:ln w="25400">
              <a:solidFill>
                <a:srgbClr val="B9C6D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543255" y="3714750"/>
            <a:ext cx="15494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000">
              <a:latin typeface="Calibri"/>
              <a:cs typeface="Calibri"/>
            </a:endParaRPr>
          </a:p>
        </p:txBody>
      </p:sp>
      <p:grpSp>
        <p:nvGrpSpPr>
          <p:cNvPr id="50" name="object 50"/>
          <p:cNvGrpSpPr/>
          <p:nvPr/>
        </p:nvGrpSpPr>
        <p:grpSpPr>
          <a:xfrm>
            <a:off x="975144" y="3374390"/>
            <a:ext cx="3529965" cy="705485"/>
            <a:chOff x="975144" y="3374390"/>
            <a:chExt cx="3529965" cy="705485"/>
          </a:xfrm>
        </p:grpSpPr>
        <p:sp>
          <p:nvSpPr>
            <p:cNvPr id="51" name="object 51"/>
            <p:cNvSpPr/>
            <p:nvPr/>
          </p:nvSpPr>
          <p:spPr>
            <a:xfrm>
              <a:off x="987844" y="3387090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390607" y="0"/>
                  </a:moveTo>
                  <a:lnTo>
                    <a:pt x="0" y="0"/>
                  </a:lnTo>
                  <a:lnTo>
                    <a:pt x="0" y="680085"/>
                  </a:lnTo>
                  <a:lnTo>
                    <a:pt x="3390607" y="680085"/>
                  </a:lnTo>
                  <a:lnTo>
                    <a:pt x="3434742" y="671189"/>
                  </a:lnTo>
                  <a:lnTo>
                    <a:pt x="3470792" y="646922"/>
                  </a:lnTo>
                  <a:lnTo>
                    <a:pt x="3495103" y="610915"/>
                  </a:lnTo>
                  <a:lnTo>
                    <a:pt x="3504018" y="566801"/>
                  </a:lnTo>
                  <a:lnTo>
                    <a:pt x="3504018" y="113411"/>
                  </a:lnTo>
                  <a:lnTo>
                    <a:pt x="3495103" y="69276"/>
                  </a:lnTo>
                  <a:lnTo>
                    <a:pt x="3470792" y="33226"/>
                  </a:lnTo>
                  <a:lnTo>
                    <a:pt x="3434742" y="8915"/>
                  </a:lnTo>
                  <a:lnTo>
                    <a:pt x="3390607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987844" y="3387090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504018" y="113411"/>
                  </a:moveTo>
                  <a:lnTo>
                    <a:pt x="3504018" y="566801"/>
                  </a:lnTo>
                  <a:lnTo>
                    <a:pt x="3495103" y="610915"/>
                  </a:lnTo>
                  <a:lnTo>
                    <a:pt x="3470792" y="646922"/>
                  </a:lnTo>
                  <a:lnTo>
                    <a:pt x="3434742" y="671189"/>
                  </a:lnTo>
                  <a:lnTo>
                    <a:pt x="3390607" y="680085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390607" y="0"/>
                  </a:lnTo>
                  <a:lnTo>
                    <a:pt x="3434742" y="8915"/>
                  </a:lnTo>
                  <a:lnTo>
                    <a:pt x="3470792" y="33226"/>
                  </a:lnTo>
                  <a:lnTo>
                    <a:pt x="3495103" y="69276"/>
                  </a:lnTo>
                  <a:lnTo>
                    <a:pt x="3504018" y="113411"/>
                  </a:lnTo>
                  <a:close/>
                </a:path>
              </a:pathLst>
            </a:custGeom>
            <a:ln w="25399">
              <a:solidFill>
                <a:srgbClr val="B9C6D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1124813" y="3522929"/>
            <a:ext cx="3223895" cy="3460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9235">
              <a:lnSpc>
                <a:spcPct val="100000"/>
              </a:lnSpc>
              <a:spcBef>
                <a:spcPts val="100"/>
              </a:spcBef>
              <a:buChar char="•"/>
              <a:tabLst>
                <a:tab pos="241935" algn="l"/>
              </a:tabLst>
            </a:pPr>
            <a:r>
              <a:rPr sz="2100" spc="-15" dirty="0">
                <a:latin typeface="Calibri"/>
                <a:cs typeface="Calibri"/>
              </a:rPr>
              <a:t>Уведомительный</a:t>
            </a:r>
            <a:r>
              <a:rPr sz="2100" spc="-70" dirty="0">
                <a:latin typeface="Calibri"/>
                <a:cs typeface="Calibri"/>
              </a:rPr>
              <a:t> </a:t>
            </a:r>
            <a:r>
              <a:rPr sz="2100" spc="-10" dirty="0">
                <a:latin typeface="Calibri"/>
                <a:cs typeface="Calibri"/>
              </a:rPr>
              <a:t>порядок</a:t>
            </a:r>
            <a:endParaRPr sz="2100">
              <a:latin typeface="Calibri"/>
              <a:cs typeface="Calibri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242684" y="4270883"/>
            <a:ext cx="758190" cy="1071880"/>
            <a:chOff x="242684" y="4270883"/>
            <a:chExt cx="758190" cy="1071880"/>
          </a:xfrm>
        </p:grpSpPr>
        <p:sp>
          <p:nvSpPr>
            <p:cNvPr id="55" name="object 55"/>
            <p:cNvSpPr/>
            <p:nvPr/>
          </p:nvSpPr>
          <p:spPr>
            <a:xfrm>
              <a:off x="255384" y="4283583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79">
                  <a:moveTo>
                    <a:pt x="732459" y="0"/>
                  </a:moveTo>
                  <a:lnTo>
                    <a:pt x="366229" y="366268"/>
                  </a:lnTo>
                  <a:lnTo>
                    <a:pt x="0" y="0"/>
                  </a:lnTo>
                  <a:lnTo>
                    <a:pt x="0" y="680085"/>
                  </a:lnTo>
                  <a:lnTo>
                    <a:pt x="366229" y="1046353"/>
                  </a:lnTo>
                  <a:lnTo>
                    <a:pt x="732459" y="680085"/>
                  </a:lnTo>
                  <a:lnTo>
                    <a:pt x="732459" y="0"/>
                  </a:lnTo>
                  <a:close/>
                </a:path>
              </a:pathLst>
            </a:custGeom>
            <a:solidFill>
              <a:srgbClr val="6D8F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55384" y="4283583"/>
              <a:ext cx="732790" cy="1046480"/>
            </a:xfrm>
            <a:custGeom>
              <a:avLst/>
              <a:gdLst/>
              <a:ahLst/>
              <a:cxnLst/>
              <a:rect l="l" t="t" r="r" b="b"/>
              <a:pathLst>
                <a:path w="732790" h="1046479">
                  <a:moveTo>
                    <a:pt x="732459" y="0"/>
                  </a:moveTo>
                  <a:lnTo>
                    <a:pt x="732459" y="680085"/>
                  </a:lnTo>
                  <a:lnTo>
                    <a:pt x="366229" y="1046353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66229" y="366268"/>
                  </a:lnTo>
                  <a:lnTo>
                    <a:pt x="732459" y="0"/>
                  </a:lnTo>
                  <a:close/>
                </a:path>
              </a:pathLst>
            </a:custGeom>
            <a:ln w="25400">
              <a:solidFill>
                <a:srgbClr val="6D8F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7" name="object 57"/>
          <p:cNvSpPr txBox="1"/>
          <p:nvPr/>
        </p:nvSpPr>
        <p:spPr>
          <a:xfrm>
            <a:off x="543255" y="4611370"/>
            <a:ext cx="15494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grpSp>
        <p:nvGrpSpPr>
          <p:cNvPr id="58" name="object 58"/>
          <p:cNvGrpSpPr/>
          <p:nvPr/>
        </p:nvGrpSpPr>
        <p:grpSpPr>
          <a:xfrm>
            <a:off x="975144" y="4270883"/>
            <a:ext cx="3529965" cy="705485"/>
            <a:chOff x="975144" y="4270883"/>
            <a:chExt cx="3529965" cy="705485"/>
          </a:xfrm>
        </p:grpSpPr>
        <p:sp>
          <p:nvSpPr>
            <p:cNvPr id="59" name="object 59"/>
            <p:cNvSpPr/>
            <p:nvPr/>
          </p:nvSpPr>
          <p:spPr>
            <a:xfrm>
              <a:off x="987844" y="4283583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390607" y="0"/>
                  </a:moveTo>
                  <a:lnTo>
                    <a:pt x="0" y="0"/>
                  </a:lnTo>
                  <a:lnTo>
                    <a:pt x="0" y="680085"/>
                  </a:lnTo>
                  <a:lnTo>
                    <a:pt x="3390607" y="680085"/>
                  </a:lnTo>
                  <a:lnTo>
                    <a:pt x="3434742" y="671189"/>
                  </a:lnTo>
                  <a:lnTo>
                    <a:pt x="3470792" y="646922"/>
                  </a:lnTo>
                  <a:lnTo>
                    <a:pt x="3495103" y="610915"/>
                  </a:lnTo>
                  <a:lnTo>
                    <a:pt x="3504018" y="566801"/>
                  </a:lnTo>
                  <a:lnTo>
                    <a:pt x="3504018" y="113411"/>
                  </a:lnTo>
                  <a:lnTo>
                    <a:pt x="3495103" y="69276"/>
                  </a:lnTo>
                  <a:lnTo>
                    <a:pt x="3470792" y="33226"/>
                  </a:lnTo>
                  <a:lnTo>
                    <a:pt x="3434742" y="8915"/>
                  </a:lnTo>
                  <a:lnTo>
                    <a:pt x="3390607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987844" y="4283583"/>
              <a:ext cx="3504565" cy="680085"/>
            </a:xfrm>
            <a:custGeom>
              <a:avLst/>
              <a:gdLst/>
              <a:ahLst/>
              <a:cxnLst/>
              <a:rect l="l" t="t" r="r" b="b"/>
              <a:pathLst>
                <a:path w="3504565" h="680085">
                  <a:moveTo>
                    <a:pt x="3504018" y="113411"/>
                  </a:moveTo>
                  <a:lnTo>
                    <a:pt x="3504018" y="566801"/>
                  </a:lnTo>
                  <a:lnTo>
                    <a:pt x="3495103" y="610915"/>
                  </a:lnTo>
                  <a:lnTo>
                    <a:pt x="3470792" y="646922"/>
                  </a:lnTo>
                  <a:lnTo>
                    <a:pt x="3434742" y="671189"/>
                  </a:lnTo>
                  <a:lnTo>
                    <a:pt x="3390607" y="680085"/>
                  </a:lnTo>
                  <a:lnTo>
                    <a:pt x="0" y="680085"/>
                  </a:lnTo>
                  <a:lnTo>
                    <a:pt x="0" y="0"/>
                  </a:lnTo>
                  <a:lnTo>
                    <a:pt x="3390607" y="0"/>
                  </a:lnTo>
                  <a:lnTo>
                    <a:pt x="3434742" y="8915"/>
                  </a:lnTo>
                  <a:lnTo>
                    <a:pt x="3470792" y="33226"/>
                  </a:lnTo>
                  <a:lnTo>
                    <a:pt x="3495103" y="69276"/>
                  </a:lnTo>
                  <a:lnTo>
                    <a:pt x="3504018" y="113411"/>
                  </a:lnTo>
                  <a:close/>
                </a:path>
              </a:pathLst>
            </a:custGeom>
            <a:ln w="25399">
              <a:solidFill>
                <a:srgbClr val="6D8FB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1" name="object 61"/>
          <p:cNvSpPr txBox="1"/>
          <p:nvPr/>
        </p:nvSpPr>
        <p:spPr>
          <a:xfrm>
            <a:off x="1124813" y="4273422"/>
            <a:ext cx="3213735" cy="640080"/>
          </a:xfrm>
          <a:prstGeom prst="rect">
            <a:avLst/>
          </a:prstGeom>
        </p:spPr>
        <p:txBody>
          <a:bodyPr vert="horz" wrap="square" lIns="0" tIns="43180" rIns="0" bIns="0" rtlCol="0">
            <a:spAutoFit/>
          </a:bodyPr>
          <a:lstStyle/>
          <a:p>
            <a:pPr marL="241300" marR="5080" indent="-229235">
              <a:lnSpc>
                <a:spcPts val="2320"/>
              </a:lnSpc>
              <a:spcBef>
                <a:spcPts val="340"/>
              </a:spcBef>
              <a:buChar char="•"/>
              <a:tabLst>
                <a:tab pos="241935" algn="l"/>
              </a:tabLst>
            </a:pPr>
            <a:r>
              <a:rPr sz="2100" dirty="0">
                <a:latin typeface="Calibri"/>
                <a:cs typeface="Calibri"/>
              </a:rPr>
              <a:t>В </a:t>
            </a:r>
            <a:r>
              <a:rPr sz="2100" spc="-5" dirty="0">
                <a:latin typeface="Calibri"/>
                <a:cs typeface="Calibri"/>
              </a:rPr>
              <a:t>порядке </a:t>
            </a:r>
            <a:r>
              <a:rPr sz="2100" spc="-10" dirty="0">
                <a:latin typeface="Calibri"/>
                <a:cs typeface="Calibri"/>
              </a:rPr>
              <a:t>установленном </a:t>
            </a:r>
            <a:r>
              <a:rPr sz="2100" spc="-459" dirty="0">
                <a:latin typeface="Calibri"/>
                <a:cs typeface="Calibri"/>
              </a:rPr>
              <a:t> </a:t>
            </a:r>
            <a:r>
              <a:rPr sz="2100" spc="-5" dirty="0">
                <a:latin typeface="Calibri"/>
                <a:cs typeface="Calibri"/>
              </a:rPr>
              <a:t>для</a:t>
            </a:r>
            <a:r>
              <a:rPr sz="2100" spc="-30" dirty="0">
                <a:latin typeface="Calibri"/>
                <a:cs typeface="Calibri"/>
              </a:rPr>
              <a:t> </a:t>
            </a:r>
            <a:r>
              <a:rPr sz="2100" dirty="0">
                <a:latin typeface="Calibri"/>
                <a:cs typeface="Calibri"/>
              </a:rPr>
              <a:t>ГКУ </a:t>
            </a:r>
            <a:r>
              <a:rPr sz="2100" spc="-10" dirty="0">
                <a:latin typeface="Calibri"/>
                <a:cs typeface="Calibri"/>
              </a:rPr>
              <a:t>до</a:t>
            </a:r>
            <a:r>
              <a:rPr sz="2100" spc="-15" dirty="0">
                <a:latin typeface="Calibri"/>
                <a:cs typeface="Calibri"/>
              </a:rPr>
              <a:t> </a:t>
            </a:r>
            <a:r>
              <a:rPr sz="2100" spc="-5" dirty="0">
                <a:latin typeface="Calibri"/>
                <a:cs typeface="Calibri"/>
              </a:rPr>
              <a:t>01.01.2017</a:t>
            </a:r>
            <a:endParaRPr sz="2100">
              <a:latin typeface="Calibri"/>
              <a:cs typeface="Calibri"/>
            </a:endParaRPr>
          </a:p>
        </p:txBody>
      </p:sp>
      <p:pic>
        <p:nvPicPr>
          <p:cNvPr id="62" name="object 6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5395912"/>
            <a:ext cx="9144000" cy="1063625"/>
          </a:xfrm>
          <a:prstGeom prst="rect">
            <a:avLst/>
          </a:prstGeom>
        </p:spPr>
      </p:pic>
      <p:sp>
        <p:nvSpPr>
          <p:cNvPr id="63" name="object 63"/>
          <p:cNvSpPr txBox="1">
            <a:spLocks noGrp="1"/>
          </p:cNvSpPr>
          <p:nvPr>
            <p:ph type="sldNum" sz="quarter" idx="4294967295"/>
          </p:nvPr>
        </p:nvSpPr>
        <p:spPr>
          <a:xfrm>
            <a:off x="8388095" y="6447037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pc="-5" dirty="0"/>
              <a:t>19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1516167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49563907-BB72-524F-835C-EC96EB4E34E6}"/>
              </a:ext>
            </a:extLst>
          </p:cNvPr>
          <p:cNvSpPr txBox="1"/>
          <p:nvPr/>
        </p:nvSpPr>
        <p:spPr>
          <a:xfrm>
            <a:off x="4964580" y="4685916"/>
            <a:ext cx="1988415" cy="1068415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ум документов для кадастрового учета  и регистрации; «регистрация проще»</a:t>
            </a:r>
            <a:b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1300" b="1" dirty="0" err="1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ейщиков</a:t>
            </a:r>
            <a:endParaRPr lang="ru-RU" sz="1300" b="1" dirty="0">
              <a:solidFill>
                <a:srgbClr val="F2F2F2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6DB90AE4-79F7-4E4B-B236-AF64478337EE}"/>
              </a:ext>
            </a:extLst>
          </p:cNvPr>
          <p:cNvSpPr txBox="1"/>
          <p:nvPr/>
        </p:nvSpPr>
        <p:spPr>
          <a:xfrm>
            <a:off x="351955" y="4822252"/>
            <a:ext cx="1988415" cy="1068415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 err="1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аэродромка</a:t>
            </a: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    не препятствие</a:t>
            </a:r>
            <a:r>
              <a:rPr lang="en-US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формления «бытовой» недвижимост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65D3380-2988-C449-B235-0F99065AE395}"/>
              </a:ext>
            </a:extLst>
          </p:cNvPr>
          <p:cNvSpPr txBox="1"/>
          <p:nvPr/>
        </p:nvSpPr>
        <p:spPr>
          <a:xfrm>
            <a:off x="-1341507" y="6383905"/>
            <a:ext cx="8047108" cy="298973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500" dirty="0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Принятые разработанные </a:t>
            </a:r>
            <a:r>
              <a:rPr lang="ru-RU" sz="1500" dirty="0" err="1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Росреестром</a:t>
            </a:r>
            <a:r>
              <a:rPr lang="ru-RU" sz="1500" dirty="0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 и с участием </a:t>
            </a:r>
            <a:r>
              <a:rPr lang="ru-RU" sz="1500" dirty="0" err="1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Росреестра</a:t>
            </a:r>
            <a:r>
              <a:rPr lang="ru-RU" sz="1500" dirty="0">
                <a:solidFill>
                  <a:schemeClr val="bg1"/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 федеральные законы</a:t>
            </a: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xmlns="" id="{176657A4-B231-F34D-965F-B6F3A76DBD34}"/>
              </a:ext>
            </a:extLst>
          </p:cNvPr>
          <p:cNvSpPr/>
          <p:nvPr/>
        </p:nvSpPr>
        <p:spPr>
          <a:xfrm>
            <a:off x="18597" y="1103865"/>
            <a:ext cx="1577506" cy="1408486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xmlns="" id="{01F7CF92-A624-5844-B294-310A68327D86}"/>
              </a:ext>
            </a:extLst>
          </p:cNvPr>
          <p:cNvSpPr/>
          <p:nvPr/>
        </p:nvSpPr>
        <p:spPr>
          <a:xfrm>
            <a:off x="1648978" y="1110788"/>
            <a:ext cx="1887105" cy="1387740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xmlns="" id="{FCF845A1-85BE-E241-8F89-AD602DB5F8A9}"/>
              </a:ext>
            </a:extLst>
          </p:cNvPr>
          <p:cNvSpPr/>
          <p:nvPr/>
        </p:nvSpPr>
        <p:spPr>
          <a:xfrm>
            <a:off x="3609839" y="1124592"/>
            <a:ext cx="1742293" cy="1384748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xmlns="" id="{F95CD055-5A11-FC47-BB8B-BA001E0B06E2}"/>
              </a:ext>
            </a:extLst>
          </p:cNvPr>
          <p:cNvSpPr/>
          <p:nvPr/>
        </p:nvSpPr>
        <p:spPr>
          <a:xfrm>
            <a:off x="5441042" y="1103865"/>
            <a:ext cx="1866914" cy="1384748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xmlns="" id="{F098C3BC-0F85-0244-A46D-4DC53CA560EB}"/>
              </a:ext>
            </a:extLst>
          </p:cNvPr>
          <p:cNvSpPr/>
          <p:nvPr/>
        </p:nvSpPr>
        <p:spPr>
          <a:xfrm>
            <a:off x="214128" y="2876338"/>
            <a:ext cx="2037572" cy="1399966"/>
          </a:xfrm>
          <a:prstGeom prst="roundRect">
            <a:avLst/>
          </a:prstGeom>
          <a:noFill/>
          <a:ln w="57150" cap="rnd" cmpd="sng" algn="ctr">
            <a:solidFill>
              <a:srgbClr val="17A22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xmlns="" id="{D0F5E8E2-7575-B247-B73F-0AF2F90597FF}"/>
              </a:ext>
            </a:extLst>
          </p:cNvPr>
          <p:cNvSpPr/>
          <p:nvPr/>
        </p:nvSpPr>
        <p:spPr>
          <a:xfrm>
            <a:off x="2457386" y="2876338"/>
            <a:ext cx="2037572" cy="1390979"/>
          </a:xfrm>
          <a:prstGeom prst="roundRect">
            <a:avLst/>
          </a:prstGeom>
          <a:noFill/>
          <a:ln w="57150" cap="rnd" cmpd="sng" algn="ctr">
            <a:solidFill>
              <a:srgbClr val="17A22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xmlns="" id="{490A7BD0-D3DA-C841-BF4A-0112E7882A68}"/>
              </a:ext>
            </a:extLst>
          </p:cNvPr>
          <p:cNvSpPr/>
          <p:nvPr/>
        </p:nvSpPr>
        <p:spPr>
          <a:xfrm>
            <a:off x="4674509" y="2866015"/>
            <a:ext cx="2037572" cy="1351008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xmlns="" id="{1BE01E6E-2B25-B04D-ADF4-A4DB5B081794}"/>
              </a:ext>
            </a:extLst>
          </p:cNvPr>
          <p:cNvSpPr/>
          <p:nvPr/>
        </p:nvSpPr>
        <p:spPr>
          <a:xfrm>
            <a:off x="6963203" y="2866014"/>
            <a:ext cx="2037572" cy="1390979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xmlns="" id="{1DD3B4FC-C780-BB40-BE3C-2B112435909F}"/>
              </a:ext>
            </a:extLst>
          </p:cNvPr>
          <p:cNvSpPr/>
          <p:nvPr/>
        </p:nvSpPr>
        <p:spPr>
          <a:xfrm>
            <a:off x="212239" y="4620636"/>
            <a:ext cx="2037572" cy="2111812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xmlns="" id="{8E0E2EB5-B864-D547-833A-69B8B446CE03}"/>
              </a:ext>
            </a:extLst>
          </p:cNvPr>
          <p:cNvSpPr/>
          <p:nvPr/>
        </p:nvSpPr>
        <p:spPr>
          <a:xfrm>
            <a:off x="2480397" y="4590380"/>
            <a:ext cx="2037572" cy="2111812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xmlns="" id="{A727A72F-7075-5646-A86F-901A3DA9DA52}"/>
              </a:ext>
            </a:extLst>
          </p:cNvPr>
          <p:cNvSpPr/>
          <p:nvPr/>
        </p:nvSpPr>
        <p:spPr>
          <a:xfrm>
            <a:off x="4853299" y="4570063"/>
            <a:ext cx="2037572" cy="2111813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AE89F04-7BD5-FD45-B2B8-CA4CA3E48935}"/>
              </a:ext>
            </a:extLst>
          </p:cNvPr>
          <p:cNvSpPr txBox="1"/>
          <p:nvPr/>
        </p:nvSpPr>
        <p:spPr>
          <a:xfrm>
            <a:off x="70394" y="1193648"/>
            <a:ext cx="1745686" cy="668305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Регистрация</a:t>
            </a:r>
          </a:p>
          <a:p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и учёт проще для застройщиков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68D715BA-8989-2544-BDC0-851C081B25F7}"/>
              </a:ext>
            </a:extLst>
          </p:cNvPr>
          <p:cNvSpPr txBox="1"/>
          <p:nvPr/>
        </p:nvSpPr>
        <p:spPr>
          <a:xfrm>
            <a:off x="1740098" y="2027697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(269-ФЗ от            31.07.2020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95CC8D22-4237-0B46-8901-643E0D4E196A}"/>
              </a:ext>
            </a:extLst>
          </p:cNvPr>
          <p:cNvSpPr txBox="1"/>
          <p:nvPr/>
        </p:nvSpPr>
        <p:spPr>
          <a:xfrm>
            <a:off x="457764" y="2938160"/>
            <a:ext cx="1988415" cy="668305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ем знать             про каждый         объект, чей он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7860473E-7F5B-5347-A4D7-C7750995043B}"/>
              </a:ext>
            </a:extLst>
          </p:cNvPr>
          <p:cNvSpPr txBox="1"/>
          <p:nvPr/>
        </p:nvSpPr>
        <p:spPr>
          <a:xfrm>
            <a:off x="3683096" y="1193648"/>
            <a:ext cx="1650705" cy="529806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5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С проще              в оформлении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E0B8DA46-33AE-B646-AD1D-934144C0D173}"/>
              </a:ext>
            </a:extLst>
          </p:cNvPr>
          <p:cNvSpPr txBox="1"/>
          <p:nvPr/>
        </p:nvSpPr>
        <p:spPr>
          <a:xfrm>
            <a:off x="5430825" y="1158344"/>
            <a:ext cx="1988415" cy="806805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2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ые кадастровые работы   за счет внебюджетных средств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F0447EE-74D8-CA40-84FB-C7E26585E0B5}"/>
              </a:ext>
            </a:extLst>
          </p:cNvPr>
          <p:cNvSpPr txBox="1"/>
          <p:nvPr/>
        </p:nvSpPr>
        <p:spPr>
          <a:xfrm>
            <a:off x="2478243" y="3034630"/>
            <a:ext cx="1988415" cy="268196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Гаражная амнистия»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E8199F1D-89C8-7F48-92D9-B2946A2D4D70}"/>
              </a:ext>
            </a:extLst>
          </p:cNvPr>
          <p:cNvSpPr txBox="1"/>
          <p:nvPr/>
        </p:nvSpPr>
        <p:spPr>
          <a:xfrm>
            <a:off x="2504975" y="4780797"/>
            <a:ext cx="1988415" cy="1268470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к предупрежден,         что квартира находится в аварийном доме         и в ней нельзя жить</a:t>
            </a: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xmlns="" id="{773A0307-B833-A045-83BC-DDD773E2E1BC}"/>
              </a:ext>
            </a:extLst>
          </p:cNvPr>
          <p:cNvSpPr/>
          <p:nvPr/>
        </p:nvSpPr>
        <p:spPr>
          <a:xfrm>
            <a:off x="7396866" y="1098596"/>
            <a:ext cx="1667610" cy="1371383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9AA7C9D5-F032-5346-BB4A-0B8D814053F6}"/>
              </a:ext>
            </a:extLst>
          </p:cNvPr>
          <p:cNvSpPr txBox="1"/>
          <p:nvPr/>
        </p:nvSpPr>
        <p:spPr>
          <a:xfrm>
            <a:off x="7111845" y="4669468"/>
            <a:ext cx="1988415" cy="1268470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ешается приватизация земли в населенных пунктах в особо охраняемых природных территориях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FAB13552-A409-464F-B636-4801010AD040}"/>
              </a:ext>
            </a:extLst>
          </p:cNvPr>
          <p:cNvSpPr txBox="1"/>
          <p:nvPr/>
        </p:nvSpPr>
        <p:spPr>
          <a:xfrm>
            <a:off x="4748245" y="3012204"/>
            <a:ext cx="1988415" cy="268196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егистрация проще»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AE029A77-4256-9E4D-B47E-3EBD10E98E68}"/>
              </a:ext>
            </a:extLst>
          </p:cNvPr>
          <p:cNvSpPr txBox="1"/>
          <p:nvPr/>
        </p:nvSpPr>
        <p:spPr>
          <a:xfrm>
            <a:off x="7019792" y="2926024"/>
            <a:ext cx="1988415" cy="868360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ы застройщика –          не проблемы дольщика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93E6D7EA-C931-4549-8387-52D2E9140E12}"/>
              </a:ext>
            </a:extLst>
          </p:cNvPr>
          <p:cNvSpPr txBox="1"/>
          <p:nvPr/>
        </p:nvSpPr>
        <p:spPr>
          <a:xfrm>
            <a:off x="7357449" y="1139623"/>
            <a:ext cx="1988415" cy="82475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5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Дом для фермера»</a:t>
            </a:r>
          </a:p>
          <a:p>
            <a:pPr>
              <a:spcAft>
                <a:spcPts val="493"/>
              </a:spcAft>
            </a:pPr>
            <a:r>
              <a:rPr lang="ru-RU" sz="15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6D6CEF2B-380D-3044-B03A-8B43B6CD8C95}"/>
              </a:ext>
            </a:extLst>
          </p:cNvPr>
          <p:cNvSpPr txBox="1"/>
          <p:nvPr/>
        </p:nvSpPr>
        <p:spPr>
          <a:xfrm>
            <a:off x="112454" y="2053377"/>
            <a:ext cx="1233708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(202-ФЗ от             13.07.2020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288C2F5-98B8-F244-8110-78BC11C7F15E}"/>
              </a:ext>
            </a:extLst>
          </p:cNvPr>
          <p:cNvSpPr txBox="1"/>
          <p:nvPr/>
        </p:nvSpPr>
        <p:spPr>
          <a:xfrm>
            <a:off x="1668106" y="1193648"/>
            <a:ext cx="1936990" cy="668305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Кадастровая оценка проще</a:t>
            </a:r>
          </a:p>
          <a:p>
            <a:r>
              <a:rPr lang="ru-RU" sz="1300" b="1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и справедливее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A10D1D90-FDEB-DC41-A6A3-C7430C6FC919}"/>
              </a:ext>
            </a:extLst>
          </p:cNvPr>
          <p:cNvSpPr txBox="1"/>
          <p:nvPr/>
        </p:nvSpPr>
        <p:spPr>
          <a:xfrm>
            <a:off x="3672410" y="2094061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04-ФЗ от 08.12.2020)</a:t>
            </a:r>
            <a:endParaRPr lang="ru-RU" sz="1000" dirty="0">
              <a:solidFill>
                <a:srgbClr val="F2F2F2">
                  <a:lumMod val="25000"/>
                </a:srgbClr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CF73B533-6C9C-9B44-8084-24B1C84242D0}"/>
              </a:ext>
            </a:extLst>
          </p:cNvPr>
          <p:cNvSpPr txBox="1"/>
          <p:nvPr/>
        </p:nvSpPr>
        <p:spPr>
          <a:xfrm>
            <a:off x="7053280" y="6245346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05-ФЗ от 30.12.2020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333F4B2-82C5-3342-B642-D02C2F4BE2DB}"/>
              </a:ext>
            </a:extLst>
          </p:cNvPr>
          <p:cNvSpPr txBox="1"/>
          <p:nvPr/>
        </p:nvSpPr>
        <p:spPr>
          <a:xfrm>
            <a:off x="4791174" y="3799236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0-ФЗ от 30.04.2021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7E9018A-980E-8A4B-A4FD-85EAE328DD68}"/>
              </a:ext>
            </a:extLst>
          </p:cNvPr>
          <p:cNvSpPr txBox="1"/>
          <p:nvPr/>
        </p:nvSpPr>
        <p:spPr>
          <a:xfrm>
            <a:off x="2596267" y="3771279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79-ФЗ от 05.04.2021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333F4B85-9C67-D644-841A-87C71768283B}"/>
              </a:ext>
            </a:extLst>
          </p:cNvPr>
          <p:cNvSpPr txBox="1"/>
          <p:nvPr/>
        </p:nvSpPr>
        <p:spPr>
          <a:xfrm>
            <a:off x="438492" y="3799236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18-ФЗ от 30.12.2020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CD2B6C1-B11D-234F-A5B5-A0C19F27762D}"/>
              </a:ext>
            </a:extLst>
          </p:cNvPr>
          <p:cNvSpPr txBox="1"/>
          <p:nvPr/>
        </p:nvSpPr>
        <p:spPr>
          <a:xfrm>
            <a:off x="7378723" y="1981968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99-ФЗ от 02.07.2021)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16D0ED60-4850-B449-BBB9-5F191FDA8311}"/>
              </a:ext>
            </a:extLst>
          </p:cNvPr>
          <p:cNvSpPr txBox="1"/>
          <p:nvPr/>
        </p:nvSpPr>
        <p:spPr>
          <a:xfrm>
            <a:off x="302435" y="6256394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91-ФЗ от 11.06.2021)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2E7C788F-3960-C246-964B-9DF9DFB7F9B0}"/>
              </a:ext>
            </a:extLst>
          </p:cNvPr>
          <p:cNvSpPr txBox="1"/>
          <p:nvPr/>
        </p:nvSpPr>
        <p:spPr>
          <a:xfrm>
            <a:off x="2565692" y="6239629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48-ФЗ от 26.05.202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2504F7C1-9B3B-D841-819E-A3F9E4F497D6}"/>
              </a:ext>
            </a:extLst>
          </p:cNvPr>
          <p:cNvSpPr txBox="1"/>
          <p:nvPr/>
        </p:nvSpPr>
        <p:spPr>
          <a:xfrm>
            <a:off x="4963639" y="6233063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pPr>
              <a:spcAft>
                <a:spcPts val="493"/>
              </a:spcAft>
            </a:pPr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75-ФЗ от 01.07.2021)</a:t>
            </a:r>
          </a:p>
        </p:txBody>
      </p:sp>
      <p:pic>
        <p:nvPicPr>
          <p:cNvPr id="69" name="Рисунок 68">
            <a:extLst>
              <a:ext uri="{FF2B5EF4-FFF2-40B4-BE49-F238E27FC236}">
                <a16:creationId xmlns:a16="http://schemas.microsoft.com/office/drawing/2014/main" xmlns="" id="{CCA4F6C0-9C5A-4144-9486-BCB5F20FD1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8326" y="3766812"/>
            <a:ext cx="535509" cy="383060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xmlns="" id="{ED3B66F6-537B-084F-9D47-D01C240B3F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07473" y="3650441"/>
            <a:ext cx="568415" cy="496756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xmlns="" id="{DAF0D2C3-5824-7343-AB9C-E9819AB8D8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2932" y="3559867"/>
            <a:ext cx="451333" cy="626828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xmlns="" id="{D06045E7-E5F6-E945-9217-A9C2361F40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65156" y="3694016"/>
            <a:ext cx="477253" cy="496403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xmlns="" id="{20D2DB5E-0F9C-3E44-92BA-1853170D2D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4914" y="1990854"/>
            <a:ext cx="497387" cy="405134"/>
          </a:xfrm>
          <a:prstGeom prst="rect">
            <a:avLst/>
          </a:prstGeom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xmlns="" id="{9F70BB8C-153F-D347-99A4-CCF83BAFEC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07047" y="1988628"/>
            <a:ext cx="598072" cy="454056"/>
          </a:xfrm>
          <a:prstGeom prst="rect">
            <a:avLst/>
          </a:prstGeom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xmlns="" id="{6F79F9FC-4BCC-F441-A7F6-538F22C9500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08549" y="6022204"/>
            <a:ext cx="672844" cy="506881"/>
          </a:xfrm>
          <a:prstGeom prst="rect">
            <a:avLst/>
          </a:prstGeom>
        </p:spPr>
      </p:pic>
      <p:pic>
        <p:nvPicPr>
          <p:cNvPr id="79" name="Рисунок 78">
            <a:extLst>
              <a:ext uri="{FF2B5EF4-FFF2-40B4-BE49-F238E27FC236}">
                <a16:creationId xmlns:a16="http://schemas.microsoft.com/office/drawing/2014/main" xmlns="" id="{86350F61-2115-5143-BEB7-A38A3D7647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62231" y="1981072"/>
            <a:ext cx="604770" cy="493630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xmlns="" id="{14A72565-D2B8-B344-ABF6-2946E0C598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81098" y="6082237"/>
            <a:ext cx="497877" cy="507197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xmlns="" id="{0B36F0A7-3217-2342-803F-DF47C8098F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24480" y="6093472"/>
            <a:ext cx="534403" cy="51885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C7E36885-2E09-EB4B-9C7E-FE8845541D9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31685" y="1864931"/>
            <a:ext cx="512513" cy="465203"/>
          </a:xfrm>
          <a:prstGeom prst="rect">
            <a:avLst/>
          </a:prstGeom>
        </p:spPr>
      </p:pic>
      <p:sp>
        <p:nvSpPr>
          <p:cNvPr id="75" name="Скругленный прямоугольник 74">
            <a:extLst>
              <a:ext uri="{FF2B5EF4-FFF2-40B4-BE49-F238E27FC236}">
                <a16:creationId xmlns:a16="http://schemas.microsoft.com/office/drawing/2014/main" xmlns="" id="{C6390D25-0A50-2141-BEE9-C639890A2396}"/>
              </a:ext>
            </a:extLst>
          </p:cNvPr>
          <p:cNvSpPr/>
          <p:nvPr/>
        </p:nvSpPr>
        <p:spPr>
          <a:xfrm>
            <a:off x="7030898" y="4570064"/>
            <a:ext cx="2037572" cy="2111813"/>
          </a:xfrm>
          <a:prstGeom prst="round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483" tIns="33741" rIns="67483" bIns="337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900" dirty="0" err="1">
              <a:solidFill>
                <a:srgbClr val="FFFFFF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24449F98-845C-D542-B651-499056AB6F2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86272" y="2011674"/>
            <a:ext cx="412743" cy="40796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EA83473-FD4C-124C-A90A-427C97E584F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561223" y="6128194"/>
            <a:ext cx="558425" cy="522017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8F647E3E-60F5-2640-9046-546044A70838}"/>
              </a:ext>
            </a:extLst>
          </p:cNvPr>
          <p:cNvSpPr txBox="1"/>
          <p:nvPr/>
        </p:nvSpPr>
        <p:spPr>
          <a:xfrm>
            <a:off x="5436652" y="2034598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№ 445-ФЗ от 22.12.2020 )</a:t>
            </a:r>
            <a:endParaRPr lang="ru-RU" sz="1000" dirty="0">
              <a:solidFill>
                <a:srgbClr val="F2F2F2">
                  <a:lumMod val="25000"/>
                </a:srgbClr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C9F59EA7-3615-7342-B809-DE052CCFAC96}"/>
              </a:ext>
            </a:extLst>
          </p:cNvPr>
          <p:cNvSpPr txBox="1"/>
          <p:nvPr/>
        </p:nvSpPr>
        <p:spPr>
          <a:xfrm>
            <a:off x="7020798" y="3833979"/>
            <a:ext cx="1085255" cy="375918"/>
          </a:xfrm>
          <a:prstGeom prst="rect">
            <a:avLst/>
          </a:prstGeom>
          <a:noFill/>
        </p:spPr>
        <p:txBody>
          <a:bodyPr wrap="square" lIns="67483" tIns="33741" rIns="67483" bIns="33741" rtlCol="0">
            <a:spAutoFit/>
          </a:bodyPr>
          <a:lstStyle/>
          <a:p>
            <a:r>
              <a:rPr lang="ru-RU" sz="1000" dirty="0">
                <a:solidFill>
                  <a:srgbClr val="F2F2F2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№ 273-ФЗ от 01.07.2021 )</a:t>
            </a:r>
            <a:endParaRPr lang="ru-RU" sz="1000" dirty="0">
              <a:solidFill>
                <a:srgbClr val="F2F2F2">
                  <a:lumMod val="25000"/>
                </a:srgbClr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85" name="object 2">
            <a:extLst>
              <a:ext uri="{FF2B5EF4-FFF2-40B4-BE49-F238E27FC236}">
                <a16:creationId xmlns:a16="http://schemas.microsoft.com/office/drawing/2014/main" xmlns="" id="{C419AED3-81C3-AC4B-B8E5-ACAE7AB79A4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24881" y="324642"/>
            <a:ext cx="8750143" cy="349476"/>
          </a:xfrm>
          <a:prstGeom prst="rect">
            <a:avLst/>
          </a:prstGeom>
        </p:spPr>
        <p:txBody>
          <a:bodyPr vert="horz" wrap="square" lIns="0" tIns="16912" rIns="0" bIns="0" rtlCol="0" anchor="ctr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НОВОЕ В ЗАКОНОДАТЕЛЬСТВЕ </a:t>
            </a:r>
            <a:endParaRPr lang="ru-RU" sz="1800" i="1" u="sng" dirty="0"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xmlns="" id="{5C2D8CFA-3FDB-2848-8A58-314809354D4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r="72368" b="-11453"/>
          <a:stretch/>
        </p:blipFill>
        <p:spPr>
          <a:xfrm>
            <a:off x="351955" y="130791"/>
            <a:ext cx="278233" cy="454964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725C4EAD-CEE3-674C-AFC1-E268AC3AF9B4}"/>
              </a:ext>
            </a:extLst>
          </p:cNvPr>
          <p:cNvSpPr txBox="1"/>
          <p:nvPr/>
        </p:nvSpPr>
        <p:spPr>
          <a:xfrm>
            <a:off x="8739791" y="6502436"/>
            <a:ext cx="536831" cy="3969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79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630188" y="797816"/>
            <a:ext cx="8513811" cy="88586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724881" y="-2086"/>
            <a:ext cx="8439656" cy="76263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>
          <a:xfrm>
            <a:off x="7019343" y="6506094"/>
            <a:ext cx="2057400" cy="365125"/>
          </a:xfrm>
        </p:spPr>
        <p:txBody>
          <a:bodyPr/>
          <a:lstStyle/>
          <a:p>
            <a:pPr marL="89532">
              <a:lnSpc>
                <a:spcPts val="1551"/>
              </a:lnSpc>
            </a:pPr>
            <a:fld id="{81D60167-4931-47E6-BA6A-407CBD079E47}" type="slidenum">
              <a:rPr lang="ru-RU" sz="1341" spc="-152" smtClean="0">
                <a:latin typeface="Arial Narrow"/>
                <a:cs typeface="Arial Narrow"/>
              </a:rPr>
              <a:pPr marL="89532">
                <a:lnSpc>
                  <a:spcPts val="1551"/>
                </a:lnSpc>
              </a:pPr>
              <a:t>2</a:t>
            </a:fld>
            <a:endParaRPr lang="ru-RU" sz="1341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60289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0512" y="206438"/>
            <a:ext cx="514350" cy="779462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971194" y="32373"/>
            <a:ext cx="7158355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sz="2400" b="1" spc="-5" dirty="0"/>
              <a:t>Исправление</a:t>
            </a:r>
            <a:r>
              <a:rPr sz="2400" b="1" spc="25" dirty="0"/>
              <a:t> </a:t>
            </a:r>
            <a:r>
              <a:rPr sz="2400" b="1" spc="-5" dirty="0"/>
              <a:t>реестровой</a:t>
            </a:r>
            <a:r>
              <a:rPr sz="2400" b="1" spc="40" dirty="0"/>
              <a:t> </a:t>
            </a:r>
            <a:r>
              <a:rPr sz="2400" b="1" spc="-5" dirty="0" err="1"/>
              <a:t>ошибки</a:t>
            </a:r>
            <a:r>
              <a:rPr sz="2400" b="1" spc="20" dirty="0"/>
              <a:t> </a:t>
            </a:r>
            <a:r>
              <a:rPr lang="ru-RU" sz="2400" b="1" spc="20" dirty="0" smtClean="0"/>
              <a:t/>
            </a:r>
            <a:br>
              <a:rPr lang="ru-RU" sz="2400" b="1" spc="20" dirty="0" smtClean="0"/>
            </a:br>
            <a:r>
              <a:rPr sz="2400" b="1" spc="-5" dirty="0" smtClean="0"/>
              <a:t>(</a:t>
            </a:r>
            <a:r>
              <a:rPr sz="2400" b="1" spc="-5" dirty="0"/>
              <a:t>изменения</a:t>
            </a:r>
            <a:r>
              <a:rPr sz="2400" b="1" spc="45" dirty="0"/>
              <a:t> </a:t>
            </a:r>
            <a:r>
              <a:rPr sz="2400" b="1" spc="-5" dirty="0"/>
              <a:t>в</a:t>
            </a:r>
            <a:r>
              <a:rPr sz="2400" b="1" dirty="0"/>
              <a:t> </a:t>
            </a:r>
            <a:r>
              <a:rPr sz="2400" b="1" spc="-10" dirty="0"/>
              <a:t>статью</a:t>
            </a:r>
            <a:r>
              <a:rPr sz="2400" b="1" spc="40" dirty="0"/>
              <a:t> </a:t>
            </a:r>
            <a:r>
              <a:rPr sz="2400" b="1" spc="-5" dirty="0"/>
              <a:t>61)</a:t>
            </a:r>
            <a:endParaRPr sz="2400" b="1" dirty="0"/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879092" y="4050791"/>
            <a:ext cx="6158483" cy="1078991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2208402" y="4145026"/>
            <a:ext cx="5503545" cy="2235835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marL="12700" marR="5080" indent="1905" algn="ctr">
              <a:lnSpc>
                <a:spcPct val="91400"/>
              </a:lnSpc>
              <a:spcBef>
                <a:spcPts val="285"/>
              </a:spcBef>
            </a:pPr>
            <a:r>
              <a:rPr sz="1800" spc="-10" dirty="0">
                <a:latin typeface="Calibri"/>
                <a:cs typeface="Calibri"/>
              </a:rPr>
              <a:t>ОРП</a:t>
            </a:r>
            <a:r>
              <a:rPr sz="1800" spc="-5" dirty="0">
                <a:latin typeface="Calibri"/>
                <a:cs typeface="Calibri"/>
              </a:rPr>
              <a:t> вносит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изменения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" dirty="0">
                <a:latin typeface="Calibri"/>
                <a:cs typeface="Calibri"/>
              </a:rPr>
              <a:t> сведения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ЕГРН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части 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местоположения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5" dirty="0">
                <a:latin typeface="Calibri"/>
                <a:cs typeface="Calibri"/>
              </a:rPr>
              <a:t>границ, </a:t>
            </a:r>
            <a:r>
              <a:rPr sz="1800" dirty="0">
                <a:latin typeface="Calibri"/>
                <a:cs typeface="Calibri"/>
              </a:rPr>
              <a:t>а</a:t>
            </a:r>
            <a:r>
              <a:rPr sz="1800" spc="-10" dirty="0">
                <a:latin typeface="Calibri"/>
                <a:cs typeface="Calibri"/>
              </a:rPr>
              <a:t> также</a:t>
            </a:r>
            <a:r>
              <a:rPr sz="1800" dirty="0">
                <a:latin typeface="Calibri"/>
                <a:cs typeface="Calibri"/>
              </a:rPr>
              <a:t> 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и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х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площади </a:t>
            </a:r>
            <a:r>
              <a:rPr sz="1800" spc="-5" dirty="0">
                <a:latin typeface="Calibri"/>
                <a:cs typeface="Calibri"/>
              </a:rPr>
              <a:t>(в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отношении </a:t>
            </a:r>
            <a:r>
              <a:rPr sz="1800" spc="-10" dirty="0">
                <a:latin typeface="Calibri"/>
                <a:cs typeface="Calibri"/>
              </a:rPr>
              <a:t>земельных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участков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)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2150">
              <a:latin typeface="Calibri"/>
              <a:cs typeface="Calibri"/>
            </a:endParaRPr>
          </a:p>
          <a:p>
            <a:pPr marL="78740">
              <a:lnSpc>
                <a:spcPct val="100000"/>
              </a:lnSpc>
              <a:tabLst>
                <a:tab pos="3418204" algn="l"/>
              </a:tabLst>
            </a:pPr>
            <a:r>
              <a:rPr sz="1800" dirty="0">
                <a:latin typeface="Microsoft Sans Serif"/>
                <a:cs typeface="Microsoft Sans Serif"/>
              </a:rPr>
              <a:t>Площадь</a:t>
            </a:r>
            <a:r>
              <a:rPr sz="1800" spc="515" dirty="0">
                <a:latin typeface="Microsoft Sans Serif"/>
                <a:cs typeface="Microsoft Sans Serif"/>
              </a:rPr>
              <a:t> </a:t>
            </a:r>
            <a:r>
              <a:rPr sz="1800" spc="-30" dirty="0">
                <a:latin typeface="Microsoft Sans Serif"/>
                <a:cs typeface="Microsoft Sans Serif"/>
              </a:rPr>
              <a:t>земельного</a:t>
            </a:r>
            <a:r>
              <a:rPr sz="1800" spc="35" dirty="0">
                <a:latin typeface="Microsoft Sans Serif"/>
                <a:cs typeface="Microsoft Sans Serif"/>
              </a:rPr>
              <a:t> </a:t>
            </a:r>
            <a:r>
              <a:rPr sz="1800" spc="-20" dirty="0">
                <a:latin typeface="Microsoft Sans Serif"/>
                <a:cs typeface="Microsoft Sans Serif"/>
              </a:rPr>
              <a:t>участка	отличается</a:t>
            </a:r>
            <a:r>
              <a:rPr sz="1800" spc="-25" dirty="0">
                <a:latin typeface="Microsoft Sans Serif"/>
                <a:cs typeface="Microsoft Sans Serif"/>
              </a:rPr>
              <a:t> от</a:t>
            </a:r>
            <a:endParaRPr sz="1800">
              <a:latin typeface="Microsoft Sans Serif"/>
              <a:cs typeface="Microsoft Sans Serif"/>
            </a:endParaRPr>
          </a:p>
          <a:p>
            <a:pPr marL="78740" marR="35560">
              <a:lnSpc>
                <a:spcPct val="100000"/>
              </a:lnSpc>
            </a:pPr>
            <a:r>
              <a:rPr sz="1800" spc="-15" dirty="0">
                <a:latin typeface="Microsoft Sans Serif"/>
                <a:cs typeface="Microsoft Sans Serif"/>
              </a:rPr>
              <a:t>первоначального</a:t>
            </a:r>
            <a:r>
              <a:rPr sz="1800" spc="30" dirty="0">
                <a:latin typeface="Microsoft Sans Serif"/>
                <a:cs typeface="Microsoft Sans Serif"/>
              </a:rPr>
              <a:t> </a:t>
            </a:r>
            <a:r>
              <a:rPr sz="1800" spc="-25" dirty="0">
                <a:latin typeface="Microsoft Sans Serif"/>
                <a:cs typeface="Microsoft Sans Serif"/>
              </a:rPr>
              <a:t>значения</a:t>
            </a:r>
            <a:r>
              <a:rPr sz="1800" spc="15" dirty="0">
                <a:latin typeface="Microsoft Sans Serif"/>
                <a:cs typeface="Microsoft Sans Serif"/>
              </a:rPr>
              <a:t> </a:t>
            </a:r>
            <a:r>
              <a:rPr sz="1800" spc="-5" dirty="0">
                <a:latin typeface="Microsoft Sans Serif"/>
                <a:cs typeface="Microsoft Sans Serif"/>
              </a:rPr>
              <a:t>площади</a:t>
            </a:r>
            <a:r>
              <a:rPr sz="1800" spc="15" dirty="0">
                <a:latin typeface="Microsoft Sans Serif"/>
                <a:cs typeface="Microsoft Sans Serif"/>
              </a:rPr>
              <a:t> </a:t>
            </a:r>
            <a:r>
              <a:rPr sz="1800" spc="-10" dirty="0">
                <a:latin typeface="Microsoft Sans Serif"/>
                <a:cs typeface="Microsoft Sans Serif"/>
              </a:rPr>
              <a:t>не</a:t>
            </a:r>
            <a:r>
              <a:rPr sz="1800" spc="5" dirty="0">
                <a:latin typeface="Microsoft Sans Serif"/>
                <a:cs typeface="Microsoft Sans Serif"/>
              </a:rPr>
              <a:t> </a:t>
            </a:r>
            <a:r>
              <a:rPr sz="1800" spc="-5" dirty="0">
                <a:latin typeface="Microsoft Sans Serif"/>
                <a:cs typeface="Microsoft Sans Serif"/>
              </a:rPr>
              <a:t>более </a:t>
            </a:r>
            <a:r>
              <a:rPr sz="1800" spc="-30" dirty="0">
                <a:latin typeface="Microsoft Sans Serif"/>
                <a:cs typeface="Microsoft Sans Serif"/>
              </a:rPr>
              <a:t>чем </a:t>
            </a:r>
            <a:r>
              <a:rPr sz="1800" spc="-465" dirty="0">
                <a:latin typeface="Microsoft Sans Serif"/>
                <a:cs typeface="Microsoft Sans Serif"/>
              </a:rPr>
              <a:t> </a:t>
            </a:r>
            <a:r>
              <a:rPr sz="1800" spc="-10" dirty="0">
                <a:latin typeface="Microsoft Sans Serif"/>
                <a:cs typeface="Microsoft Sans Serif"/>
              </a:rPr>
              <a:t>на</a:t>
            </a:r>
            <a:r>
              <a:rPr sz="1800" spc="10" dirty="0">
                <a:latin typeface="Microsoft Sans Serif"/>
                <a:cs typeface="Microsoft Sans Serif"/>
              </a:rPr>
              <a:t> </a:t>
            </a:r>
            <a:r>
              <a:rPr sz="1800" spc="-15" dirty="0">
                <a:latin typeface="Microsoft Sans Serif"/>
                <a:cs typeface="Microsoft Sans Serif"/>
              </a:rPr>
              <a:t>величину</a:t>
            </a:r>
            <a:r>
              <a:rPr sz="1800" spc="15" dirty="0">
                <a:latin typeface="Microsoft Sans Serif"/>
                <a:cs typeface="Microsoft Sans Serif"/>
              </a:rPr>
              <a:t> </a:t>
            </a:r>
            <a:r>
              <a:rPr sz="1800" spc="-10" dirty="0">
                <a:latin typeface="Microsoft Sans Serif"/>
                <a:cs typeface="Microsoft Sans Serif"/>
              </a:rPr>
              <a:t>погрешности</a:t>
            </a:r>
            <a:r>
              <a:rPr sz="1800" spc="50" dirty="0">
                <a:latin typeface="Microsoft Sans Serif"/>
                <a:cs typeface="Microsoft Sans Serif"/>
              </a:rPr>
              <a:t> </a:t>
            </a:r>
            <a:r>
              <a:rPr sz="1800" spc="-20" dirty="0">
                <a:latin typeface="Microsoft Sans Serif"/>
                <a:cs typeface="Microsoft Sans Serif"/>
              </a:rPr>
              <a:t>определения</a:t>
            </a:r>
            <a:r>
              <a:rPr sz="1800" spc="25" dirty="0">
                <a:latin typeface="Microsoft Sans Serif"/>
                <a:cs typeface="Microsoft Sans Serif"/>
              </a:rPr>
              <a:t> </a:t>
            </a:r>
            <a:r>
              <a:rPr sz="1800" spc="-5" dirty="0">
                <a:latin typeface="Microsoft Sans Serif"/>
                <a:cs typeface="Microsoft Sans Serif"/>
              </a:rPr>
              <a:t>площади </a:t>
            </a:r>
            <a:r>
              <a:rPr sz="1800" dirty="0">
                <a:latin typeface="Microsoft Sans Serif"/>
                <a:cs typeface="Microsoft Sans Serif"/>
              </a:rPr>
              <a:t> </a:t>
            </a:r>
            <a:r>
              <a:rPr sz="1800" spc="-30" dirty="0">
                <a:latin typeface="Microsoft Sans Serif"/>
                <a:cs typeface="Microsoft Sans Serif"/>
              </a:rPr>
              <a:t>земельного</a:t>
            </a:r>
            <a:r>
              <a:rPr sz="1800" spc="15" dirty="0">
                <a:latin typeface="Microsoft Sans Serif"/>
                <a:cs typeface="Microsoft Sans Serif"/>
              </a:rPr>
              <a:t> </a:t>
            </a:r>
            <a:r>
              <a:rPr sz="1800" spc="-20" dirty="0">
                <a:latin typeface="Microsoft Sans Serif"/>
                <a:cs typeface="Microsoft Sans Serif"/>
              </a:rPr>
              <a:t>участка</a:t>
            </a:r>
            <a:endParaRPr sz="1800">
              <a:latin typeface="Microsoft Sans Serif"/>
              <a:cs typeface="Microsoft Sans Serif"/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860804" y="2510027"/>
            <a:ext cx="6190488" cy="1645920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2113914" y="2618359"/>
            <a:ext cx="5693410" cy="8020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ts val="2065"/>
              </a:lnSpc>
              <a:spcBef>
                <a:spcPts val="100"/>
              </a:spcBef>
            </a:pPr>
            <a:r>
              <a:rPr sz="1800" dirty="0">
                <a:latin typeface="Calibri"/>
                <a:cs typeface="Calibri"/>
              </a:rPr>
              <a:t>при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личии</a:t>
            </a:r>
            <a:r>
              <a:rPr sz="1800" spc="40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араметров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перехода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(ключей)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РП</a:t>
            </a:r>
            <a:endParaRPr sz="1800">
              <a:latin typeface="Calibri"/>
              <a:cs typeface="Calibri"/>
            </a:endParaRPr>
          </a:p>
          <a:p>
            <a:pPr algn="ctr">
              <a:lnSpc>
                <a:spcPts val="1975"/>
              </a:lnSpc>
            </a:pPr>
            <a:r>
              <a:rPr sz="1800" spc="-10" dirty="0">
                <a:latin typeface="Calibri"/>
                <a:cs typeface="Calibri"/>
              </a:rPr>
              <a:t>осуществляет</a:t>
            </a:r>
            <a:r>
              <a:rPr sz="1800" spc="-5" dirty="0">
                <a:latin typeface="Calibri"/>
                <a:cs typeface="Calibri"/>
              </a:rPr>
              <a:t> пересчет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ординат</a:t>
            </a:r>
            <a:r>
              <a:rPr sz="1800" spc="-5" dirty="0">
                <a:latin typeface="Calibri"/>
                <a:cs typeface="Calibri"/>
              </a:rPr>
              <a:t> характерных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точек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сех</a:t>
            </a:r>
            <a:endParaRPr sz="1800">
              <a:latin typeface="Calibri"/>
              <a:cs typeface="Calibri"/>
            </a:endParaRPr>
          </a:p>
          <a:p>
            <a:pPr marL="1905" algn="ctr">
              <a:lnSpc>
                <a:spcPts val="2070"/>
              </a:lnSpc>
            </a:pPr>
            <a:r>
              <a:rPr sz="1800" dirty="0">
                <a:latin typeface="Calibri"/>
                <a:cs typeface="Calibri"/>
              </a:rPr>
              <a:t>границ</a:t>
            </a:r>
            <a:r>
              <a:rPr sz="1800" spc="37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" dirty="0">
                <a:latin typeface="Calibri"/>
                <a:cs typeface="Calibri"/>
              </a:rPr>
              <a:t> местную</a:t>
            </a:r>
            <a:r>
              <a:rPr sz="1800" spc="-10" dirty="0">
                <a:latin typeface="Calibri"/>
                <a:cs typeface="Calibri"/>
              </a:rPr>
              <a:t> систему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ординат</a:t>
            </a:r>
            <a:endParaRPr sz="1800">
              <a:latin typeface="Calibri"/>
              <a:cs typeface="Calibri"/>
            </a:endParaRPr>
          </a:p>
        </p:txBody>
      </p:sp>
      <p:pic>
        <p:nvPicPr>
          <p:cNvPr id="8" name="object 8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860804" y="978408"/>
            <a:ext cx="6190488" cy="1650492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2135251" y="1213865"/>
            <a:ext cx="5649595" cy="549910"/>
          </a:xfrm>
          <a:prstGeom prst="rect">
            <a:avLst/>
          </a:prstGeom>
        </p:spPr>
        <p:txBody>
          <a:bodyPr vert="horz" wrap="square" lIns="0" tIns="41275" rIns="0" bIns="0" rtlCol="0">
            <a:spAutoFit/>
          </a:bodyPr>
          <a:lstStyle/>
          <a:p>
            <a:pPr marL="992505" marR="5080" indent="-980440">
              <a:lnSpc>
                <a:spcPts val="1970"/>
              </a:lnSpc>
              <a:spcBef>
                <a:spcPts val="325"/>
              </a:spcBef>
            </a:pPr>
            <a:r>
              <a:rPr sz="1800" spc="-10" dirty="0">
                <a:latin typeface="Calibri"/>
                <a:cs typeface="Calibri"/>
              </a:rPr>
              <a:t>Реестровая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ошибка</a:t>
            </a:r>
            <a:r>
              <a:rPr sz="1800" spc="4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-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несоответствие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истемы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ординат </a:t>
            </a:r>
            <a:r>
              <a:rPr sz="1800" spc="-39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местной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системе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координат </a:t>
            </a:r>
            <a:r>
              <a:rPr sz="1800" spc="-5" dirty="0">
                <a:latin typeface="Calibri"/>
                <a:cs typeface="Calibri"/>
              </a:rPr>
              <a:t>(</a:t>
            </a:r>
            <a:r>
              <a:rPr sz="1800" spc="-5" dirty="0" smtClean="0">
                <a:latin typeface="Calibri"/>
                <a:cs typeface="Calibri"/>
              </a:rPr>
              <a:t>МСК-</a:t>
            </a:r>
            <a:r>
              <a:rPr lang="ru-RU" sz="1800" spc="-5" dirty="0" smtClean="0">
                <a:latin typeface="Calibri"/>
                <a:cs typeface="Calibri"/>
              </a:rPr>
              <a:t>47</a:t>
            </a:r>
            <a:r>
              <a:rPr sz="1800" spc="-5" dirty="0" smtClean="0">
                <a:latin typeface="Calibri"/>
                <a:cs typeface="Calibri"/>
              </a:rPr>
              <a:t>)</a:t>
            </a:r>
            <a:endParaRPr sz="1800" dirty="0">
              <a:latin typeface="Calibri"/>
              <a:cs typeface="Calibri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93762" y="5157787"/>
            <a:ext cx="1008062" cy="998537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8580119" y="6519274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20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11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09562" y="184213"/>
            <a:ext cx="5340985" cy="2277110"/>
            <a:chOff x="309562" y="184213"/>
            <a:chExt cx="5340985" cy="227711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09562" y="184213"/>
              <a:ext cx="517525" cy="779462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1583563" y="982217"/>
              <a:ext cx="4053840" cy="1466215"/>
            </a:xfrm>
            <a:custGeom>
              <a:avLst/>
              <a:gdLst/>
              <a:ahLst/>
              <a:cxnLst/>
              <a:rect l="l" t="t" r="r" b="b"/>
              <a:pathLst>
                <a:path w="4053840" h="1466214">
                  <a:moveTo>
                    <a:pt x="4053840" y="1465834"/>
                  </a:moveTo>
                  <a:lnTo>
                    <a:pt x="732917" y="1465834"/>
                  </a:lnTo>
                  <a:lnTo>
                    <a:pt x="0" y="732917"/>
                  </a:lnTo>
                  <a:lnTo>
                    <a:pt x="732917" y="0"/>
                  </a:lnTo>
                  <a:lnTo>
                    <a:pt x="4053840" y="0"/>
                  </a:lnTo>
                  <a:lnTo>
                    <a:pt x="4053840" y="1465834"/>
                  </a:lnTo>
                  <a:close/>
                </a:path>
              </a:pathLst>
            </a:custGeom>
            <a:ln w="25400">
              <a:solidFill>
                <a:srgbClr val="4674A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228444" y="306083"/>
            <a:ext cx="4095585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b="1" dirty="0"/>
              <a:t>Акты</a:t>
            </a:r>
            <a:r>
              <a:rPr sz="2800" b="1" spc="-85" dirty="0"/>
              <a:t> </a:t>
            </a:r>
            <a:r>
              <a:rPr sz="2800" b="1" spc="-10" dirty="0"/>
              <a:t>согласования</a:t>
            </a: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327775" y="119062"/>
            <a:ext cx="2781300" cy="6118225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2584195" y="1446022"/>
            <a:ext cx="2952750" cy="491490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12700" marR="5080">
              <a:lnSpc>
                <a:spcPts val="1750"/>
              </a:lnSpc>
              <a:spcBef>
                <a:spcPts val="295"/>
              </a:spcBef>
            </a:pPr>
            <a:r>
              <a:rPr sz="1600" spc="-5" dirty="0">
                <a:latin typeface="Calibri"/>
                <a:cs typeface="Calibri"/>
              </a:rPr>
              <a:t>с</a:t>
            </a:r>
            <a:r>
              <a:rPr sz="1600" spc="8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30</a:t>
            </a:r>
            <a:r>
              <a:rPr sz="1600" spc="8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апреля</a:t>
            </a:r>
            <a:r>
              <a:rPr sz="1600" spc="9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2021</a:t>
            </a:r>
            <a:r>
              <a:rPr sz="1600" spc="8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акты</a:t>
            </a:r>
            <a:r>
              <a:rPr sz="1600" spc="10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spc="9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рган </a:t>
            </a:r>
            <a:r>
              <a:rPr sz="1600" spc="-35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регистрации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рав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не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передаются</a:t>
            </a:r>
            <a:endParaRPr sz="1600"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749426" y="951483"/>
            <a:ext cx="1491615" cy="1491615"/>
            <a:chOff x="749426" y="951483"/>
            <a:chExt cx="1491615" cy="1491615"/>
          </a:xfrm>
        </p:grpSpPr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62126" y="964183"/>
              <a:ext cx="1465834" cy="1465833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762126" y="964183"/>
              <a:ext cx="1466215" cy="1466215"/>
            </a:xfrm>
            <a:custGeom>
              <a:avLst/>
              <a:gdLst/>
              <a:ahLst/>
              <a:cxnLst/>
              <a:rect l="l" t="t" r="r" b="b"/>
              <a:pathLst>
                <a:path w="1466214" h="1466214">
                  <a:moveTo>
                    <a:pt x="0" y="732916"/>
                  </a:moveTo>
                  <a:lnTo>
                    <a:pt x="1558" y="684730"/>
                  </a:lnTo>
                  <a:lnTo>
                    <a:pt x="6171" y="637376"/>
                  </a:lnTo>
                  <a:lnTo>
                    <a:pt x="13741" y="590950"/>
                  </a:lnTo>
                  <a:lnTo>
                    <a:pt x="24171" y="545549"/>
                  </a:lnTo>
                  <a:lnTo>
                    <a:pt x="37365" y="501270"/>
                  </a:lnTo>
                  <a:lnTo>
                    <a:pt x="53226" y="458208"/>
                  </a:lnTo>
                  <a:lnTo>
                    <a:pt x="71657" y="416462"/>
                  </a:lnTo>
                  <a:lnTo>
                    <a:pt x="92563" y="376127"/>
                  </a:lnTo>
                  <a:lnTo>
                    <a:pt x="115847" y="337300"/>
                  </a:lnTo>
                  <a:lnTo>
                    <a:pt x="141411" y="300078"/>
                  </a:lnTo>
                  <a:lnTo>
                    <a:pt x="169160" y="264557"/>
                  </a:lnTo>
                  <a:lnTo>
                    <a:pt x="198997" y="230834"/>
                  </a:lnTo>
                  <a:lnTo>
                    <a:pt x="230824" y="199006"/>
                  </a:lnTo>
                  <a:lnTo>
                    <a:pt x="264547" y="169168"/>
                  </a:lnTo>
                  <a:lnTo>
                    <a:pt x="300067" y="141419"/>
                  </a:lnTo>
                  <a:lnTo>
                    <a:pt x="337289" y="115853"/>
                  </a:lnTo>
                  <a:lnTo>
                    <a:pt x="376116" y="92569"/>
                  </a:lnTo>
                  <a:lnTo>
                    <a:pt x="416451" y="71662"/>
                  </a:lnTo>
                  <a:lnTo>
                    <a:pt x="458198" y="53229"/>
                  </a:lnTo>
                  <a:lnTo>
                    <a:pt x="501260" y="37367"/>
                  </a:lnTo>
                  <a:lnTo>
                    <a:pt x="545540" y="24172"/>
                  </a:lnTo>
                  <a:lnTo>
                    <a:pt x="590943" y="13742"/>
                  </a:lnTo>
                  <a:lnTo>
                    <a:pt x="637371" y="6172"/>
                  </a:lnTo>
                  <a:lnTo>
                    <a:pt x="684728" y="1559"/>
                  </a:lnTo>
                  <a:lnTo>
                    <a:pt x="732917" y="0"/>
                  </a:lnTo>
                  <a:lnTo>
                    <a:pt x="781103" y="1559"/>
                  </a:lnTo>
                  <a:lnTo>
                    <a:pt x="828457" y="6172"/>
                  </a:lnTo>
                  <a:lnTo>
                    <a:pt x="874883" y="13742"/>
                  </a:lnTo>
                  <a:lnTo>
                    <a:pt x="920284" y="24172"/>
                  </a:lnTo>
                  <a:lnTo>
                    <a:pt x="964563" y="37367"/>
                  </a:lnTo>
                  <a:lnTo>
                    <a:pt x="1007625" y="53229"/>
                  </a:lnTo>
                  <a:lnTo>
                    <a:pt x="1049371" y="71662"/>
                  </a:lnTo>
                  <a:lnTo>
                    <a:pt x="1089706" y="92569"/>
                  </a:lnTo>
                  <a:lnTo>
                    <a:pt x="1128533" y="115853"/>
                  </a:lnTo>
                  <a:lnTo>
                    <a:pt x="1165755" y="141419"/>
                  </a:lnTo>
                  <a:lnTo>
                    <a:pt x="1201276" y="169168"/>
                  </a:lnTo>
                  <a:lnTo>
                    <a:pt x="1234999" y="199006"/>
                  </a:lnTo>
                  <a:lnTo>
                    <a:pt x="1266827" y="230834"/>
                  </a:lnTo>
                  <a:lnTo>
                    <a:pt x="1296665" y="264557"/>
                  </a:lnTo>
                  <a:lnTo>
                    <a:pt x="1324414" y="300078"/>
                  </a:lnTo>
                  <a:lnTo>
                    <a:pt x="1349980" y="337300"/>
                  </a:lnTo>
                  <a:lnTo>
                    <a:pt x="1373264" y="376127"/>
                  </a:lnTo>
                  <a:lnTo>
                    <a:pt x="1394171" y="416462"/>
                  </a:lnTo>
                  <a:lnTo>
                    <a:pt x="1412604" y="458208"/>
                  </a:lnTo>
                  <a:lnTo>
                    <a:pt x="1428466" y="501270"/>
                  </a:lnTo>
                  <a:lnTo>
                    <a:pt x="1441661" y="545549"/>
                  </a:lnTo>
                  <a:lnTo>
                    <a:pt x="1452091" y="590950"/>
                  </a:lnTo>
                  <a:lnTo>
                    <a:pt x="1459661" y="637376"/>
                  </a:lnTo>
                  <a:lnTo>
                    <a:pt x="1464274" y="684730"/>
                  </a:lnTo>
                  <a:lnTo>
                    <a:pt x="1465834" y="732916"/>
                  </a:lnTo>
                  <a:lnTo>
                    <a:pt x="1464274" y="781103"/>
                  </a:lnTo>
                  <a:lnTo>
                    <a:pt x="1459661" y="828457"/>
                  </a:lnTo>
                  <a:lnTo>
                    <a:pt x="1452091" y="874883"/>
                  </a:lnTo>
                  <a:lnTo>
                    <a:pt x="1441661" y="920284"/>
                  </a:lnTo>
                  <a:lnTo>
                    <a:pt x="1428466" y="964563"/>
                  </a:lnTo>
                  <a:lnTo>
                    <a:pt x="1412604" y="1007625"/>
                  </a:lnTo>
                  <a:lnTo>
                    <a:pt x="1394171" y="1049371"/>
                  </a:lnTo>
                  <a:lnTo>
                    <a:pt x="1373264" y="1089706"/>
                  </a:lnTo>
                  <a:lnTo>
                    <a:pt x="1349980" y="1128533"/>
                  </a:lnTo>
                  <a:lnTo>
                    <a:pt x="1324414" y="1165755"/>
                  </a:lnTo>
                  <a:lnTo>
                    <a:pt x="1296665" y="1201276"/>
                  </a:lnTo>
                  <a:lnTo>
                    <a:pt x="1266827" y="1234999"/>
                  </a:lnTo>
                  <a:lnTo>
                    <a:pt x="1234999" y="1266827"/>
                  </a:lnTo>
                  <a:lnTo>
                    <a:pt x="1201276" y="1296665"/>
                  </a:lnTo>
                  <a:lnTo>
                    <a:pt x="1165755" y="1324414"/>
                  </a:lnTo>
                  <a:lnTo>
                    <a:pt x="1128533" y="1349980"/>
                  </a:lnTo>
                  <a:lnTo>
                    <a:pt x="1089706" y="1373264"/>
                  </a:lnTo>
                  <a:lnTo>
                    <a:pt x="1049371" y="1394171"/>
                  </a:lnTo>
                  <a:lnTo>
                    <a:pt x="1007625" y="1412604"/>
                  </a:lnTo>
                  <a:lnTo>
                    <a:pt x="964563" y="1428466"/>
                  </a:lnTo>
                  <a:lnTo>
                    <a:pt x="920284" y="1441661"/>
                  </a:lnTo>
                  <a:lnTo>
                    <a:pt x="874883" y="1452091"/>
                  </a:lnTo>
                  <a:lnTo>
                    <a:pt x="828457" y="1459661"/>
                  </a:lnTo>
                  <a:lnTo>
                    <a:pt x="781103" y="1464274"/>
                  </a:lnTo>
                  <a:lnTo>
                    <a:pt x="732917" y="1465833"/>
                  </a:lnTo>
                  <a:lnTo>
                    <a:pt x="684728" y="1464274"/>
                  </a:lnTo>
                  <a:lnTo>
                    <a:pt x="637371" y="1459661"/>
                  </a:lnTo>
                  <a:lnTo>
                    <a:pt x="590943" y="1452091"/>
                  </a:lnTo>
                  <a:lnTo>
                    <a:pt x="545540" y="1441661"/>
                  </a:lnTo>
                  <a:lnTo>
                    <a:pt x="501260" y="1428466"/>
                  </a:lnTo>
                  <a:lnTo>
                    <a:pt x="458198" y="1412604"/>
                  </a:lnTo>
                  <a:lnTo>
                    <a:pt x="416451" y="1394171"/>
                  </a:lnTo>
                  <a:lnTo>
                    <a:pt x="376116" y="1373264"/>
                  </a:lnTo>
                  <a:lnTo>
                    <a:pt x="337289" y="1349980"/>
                  </a:lnTo>
                  <a:lnTo>
                    <a:pt x="300067" y="1324414"/>
                  </a:lnTo>
                  <a:lnTo>
                    <a:pt x="264547" y="1296665"/>
                  </a:lnTo>
                  <a:lnTo>
                    <a:pt x="230824" y="1266827"/>
                  </a:lnTo>
                  <a:lnTo>
                    <a:pt x="198997" y="1234999"/>
                  </a:lnTo>
                  <a:lnTo>
                    <a:pt x="169160" y="1201276"/>
                  </a:lnTo>
                  <a:lnTo>
                    <a:pt x="141411" y="1165755"/>
                  </a:lnTo>
                  <a:lnTo>
                    <a:pt x="115847" y="1128533"/>
                  </a:lnTo>
                  <a:lnTo>
                    <a:pt x="92563" y="1089706"/>
                  </a:lnTo>
                  <a:lnTo>
                    <a:pt x="71657" y="1049371"/>
                  </a:lnTo>
                  <a:lnTo>
                    <a:pt x="53226" y="1007625"/>
                  </a:lnTo>
                  <a:lnTo>
                    <a:pt x="37365" y="964563"/>
                  </a:lnTo>
                  <a:lnTo>
                    <a:pt x="24171" y="920284"/>
                  </a:lnTo>
                  <a:lnTo>
                    <a:pt x="13741" y="874883"/>
                  </a:lnTo>
                  <a:lnTo>
                    <a:pt x="6171" y="828457"/>
                  </a:lnTo>
                  <a:lnTo>
                    <a:pt x="1558" y="781103"/>
                  </a:lnTo>
                  <a:lnTo>
                    <a:pt x="0" y="732916"/>
                  </a:lnTo>
                  <a:close/>
                </a:path>
              </a:pathLst>
            </a:custGeom>
            <a:ln w="25400">
              <a:solidFill>
                <a:srgbClr val="4674A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/>
          <p:nvPr/>
        </p:nvSpPr>
        <p:spPr>
          <a:xfrm>
            <a:off x="1487932" y="2867532"/>
            <a:ext cx="4053840" cy="1466215"/>
          </a:xfrm>
          <a:custGeom>
            <a:avLst/>
            <a:gdLst/>
            <a:ahLst/>
            <a:cxnLst/>
            <a:rect l="l" t="t" r="r" b="b"/>
            <a:pathLst>
              <a:path w="4053840" h="1466214">
                <a:moveTo>
                  <a:pt x="4053840" y="1465833"/>
                </a:moveTo>
                <a:lnTo>
                  <a:pt x="732917" y="1465833"/>
                </a:lnTo>
                <a:lnTo>
                  <a:pt x="0" y="732916"/>
                </a:lnTo>
                <a:lnTo>
                  <a:pt x="732917" y="0"/>
                </a:lnTo>
                <a:lnTo>
                  <a:pt x="4053840" y="0"/>
                </a:lnTo>
                <a:lnTo>
                  <a:pt x="4053840" y="1465833"/>
                </a:lnTo>
                <a:close/>
              </a:path>
            </a:pathLst>
          </a:custGeom>
          <a:ln w="25399">
            <a:solidFill>
              <a:srgbClr val="467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488438" y="3331845"/>
            <a:ext cx="2952115" cy="491490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12700" marR="5080">
              <a:lnSpc>
                <a:spcPts val="1750"/>
              </a:lnSpc>
              <a:spcBef>
                <a:spcPts val="295"/>
              </a:spcBef>
              <a:tabLst>
                <a:tab pos="1078230" algn="l"/>
                <a:tab pos="1780539" algn="l"/>
              </a:tabLst>
            </a:pPr>
            <a:r>
              <a:rPr sz="1600" spc="-10" dirty="0">
                <a:latin typeface="Calibri"/>
                <a:cs typeface="Calibri"/>
              </a:rPr>
              <a:t>Хр</a:t>
            </a:r>
            <a:r>
              <a:rPr sz="1600" spc="-5" dirty="0">
                <a:latin typeface="Calibri"/>
                <a:cs typeface="Calibri"/>
              </a:rPr>
              <a:t>ане</a:t>
            </a:r>
            <a:r>
              <a:rPr sz="1600" spc="-15" dirty="0">
                <a:latin typeface="Calibri"/>
                <a:cs typeface="Calibri"/>
              </a:rPr>
              <a:t>н</a:t>
            </a:r>
            <a:r>
              <a:rPr sz="1600" spc="-5" dirty="0">
                <a:latin typeface="Calibri"/>
                <a:cs typeface="Calibri"/>
              </a:rPr>
              <a:t>ие</a:t>
            </a:r>
            <a:r>
              <a:rPr sz="1600" dirty="0">
                <a:latin typeface="Calibri"/>
                <a:cs typeface="Calibri"/>
              </a:rPr>
              <a:t>	</a:t>
            </a:r>
            <a:r>
              <a:rPr sz="1600" spc="-5" dirty="0">
                <a:latin typeface="Calibri"/>
                <a:cs typeface="Calibri"/>
              </a:rPr>
              <a:t>ак</a:t>
            </a:r>
            <a:r>
              <a:rPr sz="1600" spc="-15" dirty="0">
                <a:latin typeface="Calibri"/>
                <a:cs typeface="Calibri"/>
              </a:rPr>
              <a:t>т</a:t>
            </a:r>
            <a:r>
              <a:rPr sz="1600" spc="-10" dirty="0">
                <a:latin typeface="Calibri"/>
                <a:cs typeface="Calibri"/>
              </a:rPr>
              <a:t>о</a:t>
            </a: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dirty="0">
                <a:latin typeface="Calibri"/>
                <a:cs typeface="Calibri"/>
              </a:rPr>
              <a:t>	</a:t>
            </a:r>
            <a:r>
              <a:rPr sz="1600" spc="-5" dirty="0">
                <a:latin typeface="Calibri"/>
                <a:cs typeface="Calibri"/>
              </a:rPr>
              <a:t>со</a:t>
            </a:r>
            <a:r>
              <a:rPr sz="1600" spc="-70" dirty="0">
                <a:latin typeface="Calibri"/>
                <a:cs typeface="Calibri"/>
              </a:rPr>
              <a:t>г</a:t>
            </a:r>
            <a:r>
              <a:rPr sz="1600" spc="-10" dirty="0">
                <a:latin typeface="Calibri"/>
                <a:cs typeface="Calibri"/>
              </a:rPr>
              <a:t>л</a:t>
            </a:r>
            <a:r>
              <a:rPr sz="1600" spc="-5" dirty="0">
                <a:latin typeface="Calibri"/>
                <a:cs typeface="Calibri"/>
              </a:rPr>
              <a:t>асован</a:t>
            </a:r>
            <a:r>
              <a:rPr sz="1600" spc="5" dirty="0">
                <a:latin typeface="Calibri"/>
                <a:cs typeface="Calibri"/>
              </a:rPr>
              <a:t>и</a:t>
            </a:r>
            <a:r>
              <a:rPr sz="1600" spc="-5" dirty="0">
                <a:latin typeface="Calibri"/>
                <a:cs typeface="Calibri"/>
              </a:rPr>
              <a:t>я  </a:t>
            </a:r>
            <a:r>
              <a:rPr sz="1600" spc="-10" dirty="0">
                <a:latin typeface="Calibri"/>
                <a:cs typeface="Calibri"/>
              </a:rPr>
              <a:t>обеспечивается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КИ/ЮЛ</a:t>
            </a:r>
            <a:endParaRPr sz="1600">
              <a:latin typeface="Calibri"/>
              <a:cs typeface="Calibri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749426" y="2854832"/>
            <a:ext cx="1491615" cy="1491615"/>
            <a:chOff x="749426" y="2854832"/>
            <a:chExt cx="1491615" cy="1491615"/>
          </a:xfrm>
        </p:grpSpPr>
        <p:pic>
          <p:nvPicPr>
            <p:cNvPr id="14" name="object 1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62126" y="2867532"/>
              <a:ext cx="1465834" cy="1465833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762126" y="2867532"/>
              <a:ext cx="1466215" cy="1466215"/>
            </a:xfrm>
            <a:custGeom>
              <a:avLst/>
              <a:gdLst/>
              <a:ahLst/>
              <a:cxnLst/>
              <a:rect l="l" t="t" r="r" b="b"/>
              <a:pathLst>
                <a:path w="1466214" h="1466214">
                  <a:moveTo>
                    <a:pt x="0" y="732916"/>
                  </a:moveTo>
                  <a:lnTo>
                    <a:pt x="1558" y="684730"/>
                  </a:lnTo>
                  <a:lnTo>
                    <a:pt x="6171" y="637376"/>
                  </a:lnTo>
                  <a:lnTo>
                    <a:pt x="13741" y="590950"/>
                  </a:lnTo>
                  <a:lnTo>
                    <a:pt x="24171" y="545549"/>
                  </a:lnTo>
                  <a:lnTo>
                    <a:pt x="37365" y="501270"/>
                  </a:lnTo>
                  <a:lnTo>
                    <a:pt x="53226" y="458208"/>
                  </a:lnTo>
                  <a:lnTo>
                    <a:pt x="71657" y="416462"/>
                  </a:lnTo>
                  <a:lnTo>
                    <a:pt x="92563" y="376127"/>
                  </a:lnTo>
                  <a:lnTo>
                    <a:pt x="115847" y="337300"/>
                  </a:lnTo>
                  <a:lnTo>
                    <a:pt x="141411" y="300078"/>
                  </a:lnTo>
                  <a:lnTo>
                    <a:pt x="169160" y="264557"/>
                  </a:lnTo>
                  <a:lnTo>
                    <a:pt x="198997" y="230834"/>
                  </a:lnTo>
                  <a:lnTo>
                    <a:pt x="230824" y="199006"/>
                  </a:lnTo>
                  <a:lnTo>
                    <a:pt x="264547" y="169168"/>
                  </a:lnTo>
                  <a:lnTo>
                    <a:pt x="300067" y="141419"/>
                  </a:lnTo>
                  <a:lnTo>
                    <a:pt x="337289" y="115853"/>
                  </a:lnTo>
                  <a:lnTo>
                    <a:pt x="376116" y="92569"/>
                  </a:lnTo>
                  <a:lnTo>
                    <a:pt x="416451" y="71662"/>
                  </a:lnTo>
                  <a:lnTo>
                    <a:pt x="458198" y="53229"/>
                  </a:lnTo>
                  <a:lnTo>
                    <a:pt x="501260" y="37367"/>
                  </a:lnTo>
                  <a:lnTo>
                    <a:pt x="545540" y="24172"/>
                  </a:lnTo>
                  <a:lnTo>
                    <a:pt x="590943" y="13742"/>
                  </a:lnTo>
                  <a:lnTo>
                    <a:pt x="637371" y="6172"/>
                  </a:lnTo>
                  <a:lnTo>
                    <a:pt x="684728" y="1559"/>
                  </a:lnTo>
                  <a:lnTo>
                    <a:pt x="732917" y="0"/>
                  </a:lnTo>
                  <a:lnTo>
                    <a:pt x="781103" y="1559"/>
                  </a:lnTo>
                  <a:lnTo>
                    <a:pt x="828457" y="6172"/>
                  </a:lnTo>
                  <a:lnTo>
                    <a:pt x="874883" y="13742"/>
                  </a:lnTo>
                  <a:lnTo>
                    <a:pt x="920284" y="24172"/>
                  </a:lnTo>
                  <a:lnTo>
                    <a:pt x="964563" y="37367"/>
                  </a:lnTo>
                  <a:lnTo>
                    <a:pt x="1007625" y="53229"/>
                  </a:lnTo>
                  <a:lnTo>
                    <a:pt x="1049371" y="71662"/>
                  </a:lnTo>
                  <a:lnTo>
                    <a:pt x="1089706" y="92569"/>
                  </a:lnTo>
                  <a:lnTo>
                    <a:pt x="1128533" y="115853"/>
                  </a:lnTo>
                  <a:lnTo>
                    <a:pt x="1165755" y="141419"/>
                  </a:lnTo>
                  <a:lnTo>
                    <a:pt x="1201276" y="169168"/>
                  </a:lnTo>
                  <a:lnTo>
                    <a:pt x="1234999" y="199006"/>
                  </a:lnTo>
                  <a:lnTo>
                    <a:pt x="1266827" y="230834"/>
                  </a:lnTo>
                  <a:lnTo>
                    <a:pt x="1296665" y="264557"/>
                  </a:lnTo>
                  <a:lnTo>
                    <a:pt x="1324414" y="300078"/>
                  </a:lnTo>
                  <a:lnTo>
                    <a:pt x="1349980" y="337300"/>
                  </a:lnTo>
                  <a:lnTo>
                    <a:pt x="1373264" y="376127"/>
                  </a:lnTo>
                  <a:lnTo>
                    <a:pt x="1394171" y="416462"/>
                  </a:lnTo>
                  <a:lnTo>
                    <a:pt x="1412604" y="458208"/>
                  </a:lnTo>
                  <a:lnTo>
                    <a:pt x="1428466" y="501270"/>
                  </a:lnTo>
                  <a:lnTo>
                    <a:pt x="1441661" y="545549"/>
                  </a:lnTo>
                  <a:lnTo>
                    <a:pt x="1452091" y="590950"/>
                  </a:lnTo>
                  <a:lnTo>
                    <a:pt x="1459661" y="637376"/>
                  </a:lnTo>
                  <a:lnTo>
                    <a:pt x="1464274" y="684730"/>
                  </a:lnTo>
                  <a:lnTo>
                    <a:pt x="1465834" y="732916"/>
                  </a:lnTo>
                  <a:lnTo>
                    <a:pt x="1464274" y="781103"/>
                  </a:lnTo>
                  <a:lnTo>
                    <a:pt x="1459661" y="828457"/>
                  </a:lnTo>
                  <a:lnTo>
                    <a:pt x="1452091" y="874883"/>
                  </a:lnTo>
                  <a:lnTo>
                    <a:pt x="1441661" y="920284"/>
                  </a:lnTo>
                  <a:lnTo>
                    <a:pt x="1428466" y="964563"/>
                  </a:lnTo>
                  <a:lnTo>
                    <a:pt x="1412604" y="1007625"/>
                  </a:lnTo>
                  <a:lnTo>
                    <a:pt x="1394171" y="1049371"/>
                  </a:lnTo>
                  <a:lnTo>
                    <a:pt x="1373264" y="1089706"/>
                  </a:lnTo>
                  <a:lnTo>
                    <a:pt x="1349980" y="1128533"/>
                  </a:lnTo>
                  <a:lnTo>
                    <a:pt x="1324414" y="1165755"/>
                  </a:lnTo>
                  <a:lnTo>
                    <a:pt x="1296665" y="1201276"/>
                  </a:lnTo>
                  <a:lnTo>
                    <a:pt x="1266827" y="1234999"/>
                  </a:lnTo>
                  <a:lnTo>
                    <a:pt x="1234999" y="1266827"/>
                  </a:lnTo>
                  <a:lnTo>
                    <a:pt x="1201276" y="1296665"/>
                  </a:lnTo>
                  <a:lnTo>
                    <a:pt x="1165755" y="1324414"/>
                  </a:lnTo>
                  <a:lnTo>
                    <a:pt x="1128533" y="1349980"/>
                  </a:lnTo>
                  <a:lnTo>
                    <a:pt x="1089706" y="1373264"/>
                  </a:lnTo>
                  <a:lnTo>
                    <a:pt x="1049371" y="1394171"/>
                  </a:lnTo>
                  <a:lnTo>
                    <a:pt x="1007625" y="1412604"/>
                  </a:lnTo>
                  <a:lnTo>
                    <a:pt x="964563" y="1428466"/>
                  </a:lnTo>
                  <a:lnTo>
                    <a:pt x="920284" y="1441661"/>
                  </a:lnTo>
                  <a:lnTo>
                    <a:pt x="874883" y="1452091"/>
                  </a:lnTo>
                  <a:lnTo>
                    <a:pt x="828457" y="1459661"/>
                  </a:lnTo>
                  <a:lnTo>
                    <a:pt x="781103" y="1464274"/>
                  </a:lnTo>
                  <a:lnTo>
                    <a:pt x="732917" y="1465833"/>
                  </a:lnTo>
                  <a:lnTo>
                    <a:pt x="684728" y="1464274"/>
                  </a:lnTo>
                  <a:lnTo>
                    <a:pt x="637371" y="1459661"/>
                  </a:lnTo>
                  <a:lnTo>
                    <a:pt x="590943" y="1452091"/>
                  </a:lnTo>
                  <a:lnTo>
                    <a:pt x="545540" y="1441661"/>
                  </a:lnTo>
                  <a:lnTo>
                    <a:pt x="501260" y="1428466"/>
                  </a:lnTo>
                  <a:lnTo>
                    <a:pt x="458198" y="1412604"/>
                  </a:lnTo>
                  <a:lnTo>
                    <a:pt x="416451" y="1394171"/>
                  </a:lnTo>
                  <a:lnTo>
                    <a:pt x="376116" y="1373264"/>
                  </a:lnTo>
                  <a:lnTo>
                    <a:pt x="337289" y="1349980"/>
                  </a:lnTo>
                  <a:lnTo>
                    <a:pt x="300067" y="1324414"/>
                  </a:lnTo>
                  <a:lnTo>
                    <a:pt x="264547" y="1296665"/>
                  </a:lnTo>
                  <a:lnTo>
                    <a:pt x="230824" y="1266827"/>
                  </a:lnTo>
                  <a:lnTo>
                    <a:pt x="198997" y="1234999"/>
                  </a:lnTo>
                  <a:lnTo>
                    <a:pt x="169160" y="1201276"/>
                  </a:lnTo>
                  <a:lnTo>
                    <a:pt x="141411" y="1165755"/>
                  </a:lnTo>
                  <a:lnTo>
                    <a:pt x="115847" y="1128533"/>
                  </a:lnTo>
                  <a:lnTo>
                    <a:pt x="92563" y="1089706"/>
                  </a:lnTo>
                  <a:lnTo>
                    <a:pt x="71657" y="1049371"/>
                  </a:lnTo>
                  <a:lnTo>
                    <a:pt x="53226" y="1007625"/>
                  </a:lnTo>
                  <a:lnTo>
                    <a:pt x="37365" y="964563"/>
                  </a:lnTo>
                  <a:lnTo>
                    <a:pt x="24171" y="920284"/>
                  </a:lnTo>
                  <a:lnTo>
                    <a:pt x="13741" y="874883"/>
                  </a:lnTo>
                  <a:lnTo>
                    <a:pt x="6171" y="828457"/>
                  </a:lnTo>
                  <a:lnTo>
                    <a:pt x="1558" y="781103"/>
                  </a:lnTo>
                  <a:lnTo>
                    <a:pt x="0" y="732916"/>
                  </a:lnTo>
                  <a:close/>
                </a:path>
              </a:pathLst>
            </a:custGeom>
            <a:ln w="25400">
              <a:solidFill>
                <a:srgbClr val="4674A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/>
          <p:nvPr/>
        </p:nvSpPr>
        <p:spPr>
          <a:xfrm>
            <a:off x="1495044" y="4770882"/>
            <a:ext cx="4053840" cy="1466215"/>
          </a:xfrm>
          <a:custGeom>
            <a:avLst/>
            <a:gdLst/>
            <a:ahLst/>
            <a:cxnLst/>
            <a:rect l="l" t="t" r="r" b="b"/>
            <a:pathLst>
              <a:path w="4053840" h="1466214">
                <a:moveTo>
                  <a:pt x="4053840" y="1465846"/>
                </a:moveTo>
                <a:lnTo>
                  <a:pt x="732917" y="1465846"/>
                </a:lnTo>
                <a:lnTo>
                  <a:pt x="0" y="732917"/>
                </a:lnTo>
                <a:lnTo>
                  <a:pt x="732917" y="0"/>
                </a:lnTo>
                <a:lnTo>
                  <a:pt x="4053840" y="0"/>
                </a:lnTo>
                <a:lnTo>
                  <a:pt x="4053840" y="1465846"/>
                </a:lnTo>
                <a:close/>
              </a:path>
            </a:pathLst>
          </a:custGeom>
          <a:ln w="25400">
            <a:solidFill>
              <a:srgbClr val="4674A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495550" y="4900676"/>
            <a:ext cx="29533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966469" algn="l"/>
                <a:tab pos="1780539" algn="l"/>
              </a:tabLst>
            </a:pPr>
            <a:r>
              <a:rPr sz="1600" spc="-10" dirty="0">
                <a:latin typeface="Calibri"/>
                <a:cs typeface="Calibri"/>
              </a:rPr>
              <a:t>копия	</a:t>
            </a:r>
            <a:r>
              <a:rPr sz="1600" spc="-5" dirty="0">
                <a:latin typeface="Calibri"/>
                <a:cs typeface="Calibri"/>
              </a:rPr>
              <a:t>акта	</a:t>
            </a:r>
            <a:r>
              <a:rPr sz="1600" spc="-10" dirty="0">
                <a:latin typeface="Calibri"/>
                <a:cs typeface="Calibri"/>
              </a:rPr>
              <a:t>согласования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495550" y="5123433"/>
            <a:ext cx="2953385" cy="492759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marL="12700" marR="5080">
              <a:lnSpc>
                <a:spcPts val="1760"/>
              </a:lnSpc>
              <a:spcBef>
                <a:spcPts val="285"/>
              </a:spcBef>
              <a:tabLst>
                <a:tab pos="1753235" algn="l"/>
                <a:tab pos="2259330" algn="l"/>
              </a:tabLst>
            </a:pPr>
            <a:r>
              <a:rPr sz="1600" spc="-5" dirty="0">
                <a:latin typeface="Calibri"/>
                <a:cs typeface="Calibri"/>
              </a:rPr>
              <a:t>пр</a:t>
            </a:r>
            <a:r>
              <a:rPr sz="1600" spc="-30" dirty="0">
                <a:latin typeface="Calibri"/>
                <a:cs typeface="Calibri"/>
              </a:rPr>
              <a:t>е</a:t>
            </a:r>
            <a:r>
              <a:rPr sz="1600" spc="-20" dirty="0">
                <a:latin typeface="Calibri"/>
                <a:cs typeface="Calibri"/>
              </a:rPr>
              <a:t>д</a:t>
            </a:r>
            <a:r>
              <a:rPr sz="1600" spc="5" dirty="0">
                <a:latin typeface="Calibri"/>
                <a:cs typeface="Calibri"/>
              </a:rPr>
              <a:t>о</a:t>
            </a:r>
            <a:r>
              <a:rPr sz="1600" spc="-5" dirty="0">
                <a:latin typeface="Calibri"/>
                <a:cs typeface="Calibri"/>
              </a:rPr>
              <a:t>ст</a:t>
            </a:r>
            <a:r>
              <a:rPr sz="1600" dirty="0">
                <a:latin typeface="Calibri"/>
                <a:cs typeface="Calibri"/>
              </a:rPr>
              <a:t>а</a:t>
            </a:r>
            <a:r>
              <a:rPr sz="1600" spc="-15" dirty="0">
                <a:latin typeface="Calibri"/>
                <a:cs typeface="Calibri"/>
              </a:rPr>
              <a:t>в</a:t>
            </a:r>
            <a:r>
              <a:rPr sz="1600" spc="-10" dirty="0">
                <a:latin typeface="Calibri"/>
                <a:cs typeface="Calibri"/>
              </a:rPr>
              <a:t>ля</a:t>
            </a:r>
            <a:r>
              <a:rPr sz="1600" spc="-20" dirty="0">
                <a:latin typeface="Calibri"/>
                <a:cs typeface="Calibri"/>
              </a:rPr>
              <a:t>е</a:t>
            </a:r>
            <a:r>
              <a:rPr sz="1600" spc="-15" dirty="0">
                <a:latin typeface="Calibri"/>
                <a:cs typeface="Calibri"/>
              </a:rPr>
              <a:t>т</a:t>
            </a:r>
            <a:r>
              <a:rPr sz="1600" spc="-5" dirty="0">
                <a:latin typeface="Calibri"/>
                <a:cs typeface="Calibri"/>
              </a:rPr>
              <a:t>ся</a:t>
            </a:r>
            <a:r>
              <a:rPr sz="1600" dirty="0">
                <a:latin typeface="Calibri"/>
                <a:cs typeface="Calibri"/>
              </a:rPr>
              <a:t>	</a:t>
            </a:r>
            <a:r>
              <a:rPr sz="1600" spc="-10" dirty="0">
                <a:latin typeface="Calibri"/>
                <a:cs typeface="Calibri"/>
              </a:rPr>
              <a:t>п</a:t>
            </a:r>
            <a:r>
              <a:rPr sz="1600" spc="-5" dirty="0">
                <a:latin typeface="Calibri"/>
                <a:cs typeface="Calibri"/>
              </a:rPr>
              <a:t>о</a:t>
            </a:r>
            <a:r>
              <a:rPr sz="1600" dirty="0">
                <a:latin typeface="Calibri"/>
                <a:cs typeface="Calibri"/>
              </a:rPr>
              <a:t>	</a:t>
            </a:r>
            <a:r>
              <a:rPr sz="1600" spc="-5" dirty="0">
                <a:latin typeface="Calibri"/>
                <a:cs typeface="Calibri"/>
              </a:rPr>
              <a:t>запро</a:t>
            </a:r>
            <a:r>
              <a:rPr sz="1600" dirty="0">
                <a:latin typeface="Calibri"/>
                <a:cs typeface="Calibri"/>
              </a:rPr>
              <a:t>с</a:t>
            </a:r>
            <a:r>
              <a:rPr sz="1600" spc="-5" dirty="0">
                <a:latin typeface="Calibri"/>
                <a:cs typeface="Calibri"/>
              </a:rPr>
              <a:t>у  </a:t>
            </a:r>
            <a:r>
              <a:rPr sz="1600" spc="-10" dirty="0">
                <a:latin typeface="Calibri"/>
                <a:cs typeface="Calibri"/>
              </a:rPr>
              <a:t>правообладателей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71161" y="5347461"/>
            <a:ext cx="977265" cy="49149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715" algn="r">
              <a:lnSpc>
                <a:spcPts val="1835"/>
              </a:lnSpc>
              <a:spcBef>
                <a:spcPts val="95"/>
              </a:spcBef>
              <a:tabLst>
                <a:tab pos="650240" algn="l"/>
              </a:tabLst>
            </a:pPr>
            <a:r>
              <a:rPr sz="1600" spc="-5" dirty="0">
                <a:latin typeface="Calibri"/>
                <a:cs typeface="Calibri"/>
              </a:rPr>
              <a:t>з</a:t>
            </a:r>
            <a:r>
              <a:rPr sz="1600" spc="-15" dirty="0">
                <a:latin typeface="Calibri"/>
                <a:cs typeface="Calibri"/>
              </a:rPr>
              <a:t>/</a:t>
            </a:r>
            <a:r>
              <a:rPr sz="1600" spc="-45" dirty="0">
                <a:latin typeface="Calibri"/>
                <a:cs typeface="Calibri"/>
              </a:rPr>
              <a:t>у</a:t>
            </a:r>
            <a:r>
              <a:rPr sz="1600" spc="-5" dirty="0">
                <a:latin typeface="Calibri"/>
                <a:cs typeface="Calibri"/>
              </a:rPr>
              <a:t>,</a:t>
            </a:r>
            <a:r>
              <a:rPr sz="1600" dirty="0">
                <a:latin typeface="Calibri"/>
                <a:cs typeface="Calibri"/>
              </a:rPr>
              <a:t>	</a:t>
            </a:r>
            <a:r>
              <a:rPr sz="1600" spc="-5" dirty="0">
                <a:latin typeface="Calibri"/>
                <a:cs typeface="Calibri"/>
              </a:rPr>
              <a:t>чьи</a:t>
            </a:r>
            <a:endParaRPr sz="1600">
              <a:latin typeface="Calibri"/>
              <a:cs typeface="Calibri"/>
            </a:endParaRPr>
          </a:p>
          <a:p>
            <a:pPr marR="5080" algn="r">
              <a:lnSpc>
                <a:spcPts val="1835"/>
              </a:lnSpc>
              <a:tabLst>
                <a:tab pos="462915" algn="l"/>
              </a:tabLst>
            </a:pPr>
            <a:r>
              <a:rPr sz="1600" spc="-5" dirty="0">
                <a:latin typeface="Calibri"/>
                <a:cs typeface="Calibri"/>
              </a:rPr>
              <a:t>в	нем</a:t>
            </a:r>
            <a:endParaRPr sz="160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495550" y="5570016"/>
            <a:ext cx="1778635" cy="492759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marL="12700" marR="5080">
              <a:lnSpc>
                <a:spcPts val="1760"/>
              </a:lnSpc>
              <a:spcBef>
                <a:spcPts val="285"/>
              </a:spcBef>
              <a:tabLst>
                <a:tab pos="1031875" algn="l"/>
              </a:tabLst>
            </a:pPr>
            <a:r>
              <a:rPr sz="1600" spc="-10" dirty="0">
                <a:latin typeface="Calibri"/>
                <a:cs typeface="Calibri"/>
              </a:rPr>
              <a:t>л</a:t>
            </a:r>
            <a:r>
              <a:rPr sz="1600" dirty="0">
                <a:latin typeface="Calibri"/>
                <a:cs typeface="Calibri"/>
              </a:rPr>
              <a:t>и</a:t>
            </a:r>
            <a:r>
              <a:rPr sz="1600" spc="-5" dirty="0">
                <a:latin typeface="Calibri"/>
                <a:cs typeface="Calibri"/>
              </a:rPr>
              <a:t>чные</a:t>
            </a:r>
            <a:r>
              <a:rPr sz="1600" dirty="0">
                <a:latin typeface="Calibri"/>
                <a:cs typeface="Calibri"/>
              </a:rPr>
              <a:t>	</a:t>
            </a:r>
            <a:r>
              <a:rPr sz="1600" spc="-5" dirty="0">
                <a:latin typeface="Calibri"/>
                <a:cs typeface="Calibri"/>
              </a:rPr>
              <a:t>п</a:t>
            </a:r>
            <a:r>
              <a:rPr sz="1600" spc="-45" dirty="0">
                <a:latin typeface="Calibri"/>
                <a:cs typeface="Calibri"/>
              </a:rPr>
              <a:t>о</a:t>
            </a:r>
            <a:r>
              <a:rPr sz="1600" spc="-10" dirty="0">
                <a:latin typeface="Calibri"/>
                <a:cs typeface="Calibri"/>
              </a:rPr>
              <a:t>дп</a:t>
            </a:r>
            <a:r>
              <a:rPr sz="1600" spc="5" dirty="0">
                <a:latin typeface="Calibri"/>
                <a:cs typeface="Calibri"/>
              </a:rPr>
              <a:t>и</a:t>
            </a:r>
            <a:r>
              <a:rPr sz="1600" spc="-5" dirty="0">
                <a:latin typeface="Calibri"/>
                <a:cs typeface="Calibri"/>
              </a:rPr>
              <a:t>си  </a:t>
            </a:r>
            <a:r>
              <a:rPr sz="1600" spc="-15" dirty="0">
                <a:latin typeface="Calibri"/>
                <a:cs typeface="Calibri"/>
              </a:rPr>
              <a:t>содержатся</a:t>
            </a:r>
            <a:endParaRPr sz="1600">
              <a:latin typeface="Calibri"/>
              <a:cs typeface="Calibri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749426" y="4758182"/>
            <a:ext cx="1491615" cy="1491615"/>
            <a:chOff x="749426" y="4758182"/>
            <a:chExt cx="1491615" cy="1491615"/>
          </a:xfrm>
        </p:grpSpPr>
        <p:pic>
          <p:nvPicPr>
            <p:cNvPr id="22" name="object 2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62126" y="4770882"/>
              <a:ext cx="1465834" cy="1465846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762126" y="4770882"/>
              <a:ext cx="1466215" cy="1466215"/>
            </a:xfrm>
            <a:custGeom>
              <a:avLst/>
              <a:gdLst/>
              <a:ahLst/>
              <a:cxnLst/>
              <a:rect l="l" t="t" r="r" b="b"/>
              <a:pathLst>
                <a:path w="1466214" h="1466214">
                  <a:moveTo>
                    <a:pt x="0" y="732917"/>
                  </a:moveTo>
                  <a:lnTo>
                    <a:pt x="1558" y="684730"/>
                  </a:lnTo>
                  <a:lnTo>
                    <a:pt x="6171" y="637376"/>
                  </a:lnTo>
                  <a:lnTo>
                    <a:pt x="13741" y="590950"/>
                  </a:lnTo>
                  <a:lnTo>
                    <a:pt x="24171" y="545549"/>
                  </a:lnTo>
                  <a:lnTo>
                    <a:pt x="37365" y="501270"/>
                  </a:lnTo>
                  <a:lnTo>
                    <a:pt x="53226" y="458208"/>
                  </a:lnTo>
                  <a:lnTo>
                    <a:pt x="71657" y="416462"/>
                  </a:lnTo>
                  <a:lnTo>
                    <a:pt x="92563" y="376127"/>
                  </a:lnTo>
                  <a:lnTo>
                    <a:pt x="115847" y="337300"/>
                  </a:lnTo>
                  <a:lnTo>
                    <a:pt x="141411" y="300078"/>
                  </a:lnTo>
                  <a:lnTo>
                    <a:pt x="169160" y="264557"/>
                  </a:lnTo>
                  <a:lnTo>
                    <a:pt x="198997" y="230834"/>
                  </a:lnTo>
                  <a:lnTo>
                    <a:pt x="230824" y="199006"/>
                  </a:lnTo>
                  <a:lnTo>
                    <a:pt x="264547" y="169168"/>
                  </a:lnTo>
                  <a:lnTo>
                    <a:pt x="300067" y="141419"/>
                  </a:lnTo>
                  <a:lnTo>
                    <a:pt x="337289" y="115853"/>
                  </a:lnTo>
                  <a:lnTo>
                    <a:pt x="376116" y="92569"/>
                  </a:lnTo>
                  <a:lnTo>
                    <a:pt x="416451" y="71662"/>
                  </a:lnTo>
                  <a:lnTo>
                    <a:pt x="458198" y="53229"/>
                  </a:lnTo>
                  <a:lnTo>
                    <a:pt x="501260" y="37367"/>
                  </a:lnTo>
                  <a:lnTo>
                    <a:pt x="545540" y="24172"/>
                  </a:lnTo>
                  <a:lnTo>
                    <a:pt x="590943" y="13742"/>
                  </a:lnTo>
                  <a:lnTo>
                    <a:pt x="637371" y="6172"/>
                  </a:lnTo>
                  <a:lnTo>
                    <a:pt x="684728" y="1559"/>
                  </a:lnTo>
                  <a:lnTo>
                    <a:pt x="732917" y="0"/>
                  </a:lnTo>
                  <a:lnTo>
                    <a:pt x="781103" y="1559"/>
                  </a:lnTo>
                  <a:lnTo>
                    <a:pt x="828457" y="6172"/>
                  </a:lnTo>
                  <a:lnTo>
                    <a:pt x="874883" y="13742"/>
                  </a:lnTo>
                  <a:lnTo>
                    <a:pt x="920284" y="24172"/>
                  </a:lnTo>
                  <a:lnTo>
                    <a:pt x="964563" y="37367"/>
                  </a:lnTo>
                  <a:lnTo>
                    <a:pt x="1007625" y="53229"/>
                  </a:lnTo>
                  <a:lnTo>
                    <a:pt x="1049371" y="71662"/>
                  </a:lnTo>
                  <a:lnTo>
                    <a:pt x="1089706" y="92569"/>
                  </a:lnTo>
                  <a:lnTo>
                    <a:pt x="1128533" y="115853"/>
                  </a:lnTo>
                  <a:lnTo>
                    <a:pt x="1165755" y="141419"/>
                  </a:lnTo>
                  <a:lnTo>
                    <a:pt x="1201276" y="169168"/>
                  </a:lnTo>
                  <a:lnTo>
                    <a:pt x="1234999" y="199006"/>
                  </a:lnTo>
                  <a:lnTo>
                    <a:pt x="1266827" y="230834"/>
                  </a:lnTo>
                  <a:lnTo>
                    <a:pt x="1296665" y="264557"/>
                  </a:lnTo>
                  <a:lnTo>
                    <a:pt x="1324414" y="300078"/>
                  </a:lnTo>
                  <a:lnTo>
                    <a:pt x="1349980" y="337300"/>
                  </a:lnTo>
                  <a:lnTo>
                    <a:pt x="1373264" y="376127"/>
                  </a:lnTo>
                  <a:lnTo>
                    <a:pt x="1394171" y="416462"/>
                  </a:lnTo>
                  <a:lnTo>
                    <a:pt x="1412604" y="458208"/>
                  </a:lnTo>
                  <a:lnTo>
                    <a:pt x="1428466" y="501270"/>
                  </a:lnTo>
                  <a:lnTo>
                    <a:pt x="1441661" y="545549"/>
                  </a:lnTo>
                  <a:lnTo>
                    <a:pt x="1452091" y="590950"/>
                  </a:lnTo>
                  <a:lnTo>
                    <a:pt x="1459661" y="637376"/>
                  </a:lnTo>
                  <a:lnTo>
                    <a:pt x="1464274" y="684730"/>
                  </a:lnTo>
                  <a:lnTo>
                    <a:pt x="1465834" y="732917"/>
                  </a:lnTo>
                  <a:lnTo>
                    <a:pt x="1464274" y="781108"/>
                  </a:lnTo>
                  <a:lnTo>
                    <a:pt x="1459661" y="828468"/>
                  </a:lnTo>
                  <a:lnTo>
                    <a:pt x="1452091" y="874898"/>
                  </a:lnTo>
                  <a:lnTo>
                    <a:pt x="1441661" y="920302"/>
                  </a:lnTo>
                  <a:lnTo>
                    <a:pt x="1428466" y="964584"/>
                  </a:lnTo>
                  <a:lnTo>
                    <a:pt x="1412604" y="1007648"/>
                  </a:lnTo>
                  <a:lnTo>
                    <a:pt x="1394171" y="1049396"/>
                  </a:lnTo>
                  <a:lnTo>
                    <a:pt x="1373264" y="1089731"/>
                  </a:lnTo>
                  <a:lnTo>
                    <a:pt x="1349980" y="1128559"/>
                  </a:lnTo>
                  <a:lnTo>
                    <a:pt x="1324414" y="1165781"/>
                  </a:lnTo>
                  <a:lnTo>
                    <a:pt x="1296665" y="1201302"/>
                  </a:lnTo>
                  <a:lnTo>
                    <a:pt x="1266827" y="1235025"/>
                  </a:lnTo>
                  <a:lnTo>
                    <a:pt x="1234999" y="1266852"/>
                  </a:lnTo>
                  <a:lnTo>
                    <a:pt x="1201276" y="1296689"/>
                  </a:lnTo>
                  <a:lnTo>
                    <a:pt x="1165755" y="1324437"/>
                  </a:lnTo>
                  <a:lnTo>
                    <a:pt x="1128533" y="1350001"/>
                  </a:lnTo>
                  <a:lnTo>
                    <a:pt x="1089706" y="1373285"/>
                  </a:lnTo>
                  <a:lnTo>
                    <a:pt x="1049371" y="1394190"/>
                  </a:lnTo>
                  <a:lnTo>
                    <a:pt x="1007625" y="1412622"/>
                  </a:lnTo>
                  <a:lnTo>
                    <a:pt x="964563" y="1428482"/>
                  </a:lnTo>
                  <a:lnTo>
                    <a:pt x="920284" y="1441676"/>
                  </a:lnTo>
                  <a:lnTo>
                    <a:pt x="874883" y="1452106"/>
                  </a:lnTo>
                  <a:lnTo>
                    <a:pt x="828457" y="1459675"/>
                  </a:lnTo>
                  <a:lnTo>
                    <a:pt x="781103" y="1464287"/>
                  </a:lnTo>
                  <a:lnTo>
                    <a:pt x="732917" y="1465846"/>
                  </a:lnTo>
                  <a:lnTo>
                    <a:pt x="684728" y="1464287"/>
                  </a:lnTo>
                  <a:lnTo>
                    <a:pt x="637371" y="1459675"/>
                  </a:lnTo>
                  <a:lnTo>
                    <a:pt x="590943" y="1452106"/>
                  </a:lnTo>
                  <a:lnTo>
                    <a:pt x="545540" y="1441676"/>
                  </a:lnTo>
                  <a:lnTo>
                    <a:pt x="501260" y="1428482"/>
                  </a:lnTo>
                  <a:lnTo>
                    <a:pt x="458198" y="1412622"/>
                  </a:lnTo>
                  <a:lnTo>
                    <a:pt x="416451" y="1394190"/>
                  </a:lnTo>
                  <a:lnTo>
                    <a:pt x="376116" y="1373285"/>
                  </a:lnTo>
                  <a:lnTo>
                    <a:pt x="337289" y="1350001"/>
                  </a:lnTo>
                  <a:lnTo>
                    <a:pt x="300067" y="1324437"/>
                  </a:lnTo>
                  <a:lnTo>
                    <a:pt x="264547" y="1296689"/>
                  </a:lnTo>
                  <a:lnTo>
                    <a:pt x="230824" y="1266852"/>
                  </a:lnTo>
                  <a:lnTo>
                    <a:pt x="198997" y="1235025"/>
                  </a:lnTo>
                  <a:lnTo>
                    <a:pt x="169160" y="1201302"/>
                  </a:lnTo>
                  <a:lnTo>
                    <a:pt x="141411" y="1165781"/>
                  </a:lnTo>
                  <a:lnTo>
                    <a:pt x="115847" y="1128559"/>
                  </a:lnTo>
                  <a:lnTo>
                    <a:pt x="92563" y="1089731"/>
                  </a:lnTo>
                  <a:lnTo>
                    <a:pt x="71657" y="1049396"/>
                  </a:lnTo>
                  <a:lnTo>
                    <a:pt x="53226" y="1007648"/>
                  </a:lnTo>
                  <a:lnTo>
                    <a:pt x="37365" y="964584"/>
                  </a:lnTo>
                  <a:lnTo>
                    <a:pt x="24171" y="920302"/>
                  </a:lnTo>
                  <a:lnTo>
                    <a:pt x="13741" y="874898"/>
                  </a:lnTo>
                  <a:lnTo>
                    <a:pt x="6171" y="828468"/>
                  </a:lnTo>
                  <a:lnTo>
                    <a:pt x="1558" y="781108"/>
                  </a:lnTo>
                  <a:lnTo>
                    <a:pt x="0" y="732917"/>
                  </a:lnTo>
                  <a:close/>
                </a:path>
              </a:pathLst>
            </a:custGeom>
            <a:ln w="25400">
              <a:solidFill>
                <a:srgbClr val="4674A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8351519" y="6327860"/>
            <a:ext cx="2470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21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9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63769"/>
            <a:ext cx="9144000" cy="6330462"/>
            <a:chOff x="0" y="0"/>
            <a:chExt cx="9906000" cy="68580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653283" y="0"/>
              <a:ext cx="7252715" cy="6857996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936360" y="2955035"/>
              <a:ext cx="240791" cy="36576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0" y="0"/>
              <a:ext cx="5823585" cy="6858000"/>
            </a:xfrm>
            <a:custGeom>
              <a:avLst/>
              <a:gdLst/>
              <a:ahLst/>
              <a:cxnLst/>
              <a:rect l="l" t="t" r="r" b="b"/>
              <a:pathLst>
                <a:path w="5823585" h="6858000">
                  <a:moveTo>
                    <a:pt x="3363849" y="0"/>
                  </a:moveTo>
                  <a:lnTo>
                    <a:pt x="0" y="0"/>
                  </a:lnTo>
                  <a:lnTo>
                    <a:pt x="0" y="6857999"/>
                  </a:lnTo>
                  <a:lnTo>
                    <a:pt x="5823204" y="6857998"/>
                  </a:lnTo>
                  <a:lnTo>
                    <a:pt x="5821395" y="6760338"/>
                  </a:lnTo>
                  <a:lnTo>
                    <a:pt x="5818649" y="6654785"/>
                  </a:lnTo>
                  <a:lnTo>
                    <a:pt x="5815919" y="6580116"/>
                  </a:lnTo>
                  <a:lnTo>
                    <a:pt x="5812203" y="6502067"/>
                  </a:lnTo>
                  <a:lnTo>
                    <a:pt x="5809905" y="6461791"/>
                  </a:lnTo>
                  <a:lnTo>
                    <a:pt x="5807275" y="6420688"/>
                  </a:lnTo>
                  <a:lnTo>
                    <a:pt x="5804285" y="6378766"/>
                  </a:lnTo>
                  <a:lnTo>
                    <a:pt x="5800907" y="6336030"/>
                  </a:lnTo>
                  <a:lnTo>
                    <a:pt x="5797112" y="6292488"/>
                  </a:lnTo>
                  <a:lnTo>
                    <a:pt x="5792872" y="6248145"/>
                  </a:lnTo>
                  <a:lnTo>
                    <a:pt x="5788158" y="6203008"/>
                  </a:lnTo>
                  <a:lnTo>
                    <a:pt x="5782942" y="6157083"/>
                  </a:lnTo>
                  <a:lnTo>
                    <a:pt x="5777196" y="6110376"/>
                  </a:lnTo>
                  <a:lnTo>
                    <a:pt x="5770890" y="6062894"/>
                  </a:lnTo>
                  <a:lnTo>
                    <a:pt x="5763998" y="6014644"/>
                  </a:lnTo>
                  <a:lnTo>
                    <a:pt x="5756490" y="5965631"/>
                  </a:lnTo>
                  <a:lnTo>
                    <a:pt x="5748337" y="5915862"/>
                  </a:lnTo>
                  <a:lnTo>
                    <a:pt x="5739513" y="5865343"/>
                  </a:lnTo>
                  <a:lnTo>
                    <a:pt x="5729987" y="5814081"/>
                  </a:lnTo>
                  <a:lnTo>
                    <a:pt x="5719732" y="5762082"/>
                  </a:lnTo>
                  <a:lnTo>
                    <a:pt x="5708718" y="5709353"/>
                  </a:lnTo>
                  <a:lnTo>
                    <a:pt x="5696919" y="5655899"/>
                  </a:lnTo>
                  <a:lnTo>
                    <a:pt x="5684305" y="5601728"/>
                  </a:lnTo>
                  <a:lnTo>
                    <a:pt x="5670849" y="5546845"/>
                  </a:lnTo>
                  <a:lnTo>
                    <a:pt x="5656520" y="5491257"/>
                  </a:lnTo>
                  <a:lnTo>
                    <a:pt x="5641292" y="5434970"/>
                  </a:lnTo>
                  <a:lnTo>
                    <a:pt x="5625135" y="5377990"/>
                  </a:lnTo>
                  <a:lnTo>
                    <a:pt x="5608022" y="5320325"/>
                  </a:lnTo>
                  <a:lnTo>
                    <a:pt x="5589924" y="5261980"/>
                  </a:lnTo>
                  <a:lnTo>
                    <a:pt x="5570812" y="5202962"/>
                  </a:lnTo>
                  <a:lnTo>
                    <a:pt x="5550658" y="5143277"/>
                  </a:lnTo>
                  <a:lnTo>
                    <a:pt x="5529434" y="5082931"/>
                  </a:lnTo>
                  <a:lnTo>
                    <a:pt x="5507111" y="5021931"/>
                  </a:lnTo>
                  <a:lnTo>
                    <a:pt x="5483661" y="4960283"/>
                  </a:lnTo>
                  <a:lnTo>
                    <a:pt x="5459055" y="4897994"/>
                  </a:lnTo>
                  <a:lnTo>
                    <a:pt x="5433265" y="4835070"/>
                  </a:lnTo>
                  <a:lnTo>
                    <a:pt x="5406263" y="4771517"/>
                  </a:lnTo>
                  <a:lnTo>
                    <a:pt x="5390836" y="4736496"/>
                  </a:lnTo>
                  <a:lnTo>
                    <a:pt x="5374627" y="4700969"/>
                  </a:lnTo>
                  <a:lnTo>
                    <a:pt x="5357655" y="4664947"/>
                  </a:lnTo>
                  <a:lnTo>
                    <a:pt x="5339943" y="4628441"/>
                  </a:lnTo>
                  <a:lnTo>
                    <a:pt x="5321511" y="4591463"/>
                  </a:lnTo>
                  <a:lnTo>
                    <a:pt x="5302381" y="4554025"/>
                  </a:lnTo>
                  <a:lnTo>
                    <a:pt x="5282574" y="4516138"/>
                  </a:lnTo>
                  <a:lnTo>
                    <a:pt x="5262110" y="4477814"/>
                  </a:lnTo>
                  <a:lnTo>
                    <a:pt x="5241011" y="4439065"/>
                  </a:lnTo>
                  <a:lnTo>
                    <a:pt x="5219299" y="4399902"/>
                  </a:lnTo>
                  <a:lnTo>
                    <a:pt x="5196994" y="4360337"/>
                  </a:lnTo>
                  <a:lnTo>
                    <a:pt x="5174118" y="4320382"/>
                  </a:lnTo>
                  <a:lnTo>
                    <a:pt x="5150691" y="4280048"/>
                  </a:lnTo>
                  <a:lnTo>
                    <a:pt x="5126735" y="4239347"/>
                  </a:lnTo>
                  <a:lnTo>
                    <a:pt x="5102271" y="4198291"/>
                  </a:lnTo>
                  <a:lnTo>
                    <a:pt x="5051904" y="4115160"/>
                  </a:lnTo>
                  <a:lnTo>
                    <a:pt x="4999759" y="4030747"/>
                  </a:lnTo>
                  <a:lnTo>
                    <a:pt x="4946005" y="3945147"/>
                  </a:lnTo>
                  <a:lnTo>
                    <a:pt x="4890812" y="3858452"/>
                  </a:lnTo>
                  <a:lnTo>
                    <a:pt x="4805693" y="3726561"/>
                  </a:lnTo>
                  <a:lnTo>
                    <a:pt x="4718288" y="3592733"/>
                  </a:lnTo>
                  <a:lnTo>
                    <a:pt x="4417760" y="3136693"/>
                  </a:lnTo>
                  <a:lnTo>
                    <a:pt x="4296953" y="2951843"/>
                  </a:lnTo>
                  <a:lnTo>
                    <a:pt x="4207384" y="2812987"/>
                  </a:lnTo>
                  <a:lnTo>
                    <a:pt x="4148481" y="2720487"/>
                  </a:lnTo>
                  <a:lnTo>
                    <a:pt x="4090425" y="2628153"/>
                  </a:lnTo>
                  <a:lnTo>
                    <a:pt x="4033384" y="2536078"/>
                  </a:lnTo>
                  <a:lnTo>
                    <a:pt x="3977527" y="2444356"/>
                  </a:lnTo>
                  <a:lnTo>
                    <a:pt x="3923024" y="2353079"/>
                  </a:lnTo>
                  <a:lnTo>
                    <a:pt x="3896333" y="2307637"/>
                  </a:lnTo>
                  <a:lnTo>
                    <a:pt x="3870044" y="2262342"/>
                  </a:lnTo>
                  <a:lnTo>
                    <a:pt x="3844179" y="2217204"/>
                  </a:lnTo>
                  <a:lnTo>
                    <a:pt x="3818757" y="2172236"/>
                  </a:lnTo>
                  <a:lnTo>
                    <a:pt x="3793801" y="2127450"/>
                  </a:lnTo>
                  <a:lnTo>
                    <a:pt x="3769332" y="2082857"/>
                  </a:lnTo>
                  <a:lnTo>
                    <a:pt x="3745370" y="2038469"/>
                  </a:lnTo>
                  <a:lnTo>
                    <a:pt x="3721937" y="1994297"/>
                  </a:lnTo>
                  <a:lnTo>
                    <a:pt x="3699054" y="1950354"/>
                  </a:lnTo>
                  <a:lnTo>
                    <a:pt x="3676743" y="1906650"/>
                  </a:lnTo>
                  <a:lnTo>
                    <a:pt x="3655024" y="1863197"/>
                  </a:lnTo>
                  <a:lnTo>
                    <a:pt x="3633918" y="1820008"/>
                  </a:lnTo>
                  <a:lnTo>
                    <a:pt x="3613447" y="1777094"/>
                  </a:lnTo>
                  <a:lnTo>
                    <a:pt x="3593632" y="1734466"/>
                  </a:lnTo>
                  <a:lnTo>
                    <a:pt x="3574494" y="1692136"/>
                  </a:lnTo>
                  <a:lnTo>
                    <a:pt x="3556054" y="1650116"/>
                  </a:lnTo>
                  <a:lnTo>
                    <a:pt x="3538334" y="1608417"/>
                  </a:lnTo>
                  <a:lnTo>
                    <a:pt x="3521354" y="1567052"/>
                  </a:lnTo>
                  <a:lnTo>
                    <a:pt x="3505136" y="1526031"/>
                  </a:lnTo>
                  <a:lnTo>
                    <a:pt x="3489701" y="1485367"/>
                  </a:lnTo>
                  <a:lnTo>
                    <a:pt x="3475069" y="1445071"/>
                  </a:lnTo>
                  <a:lnTo>
                    <a:pt x="3461263" y="1405155"/>
                  </a:lnTo>
                  <a:lnTo>
                    <a:pt x="3448304" y="1365630"/>
                  </a:lnTo>
                  <a:lnTo>
                    <a:pt x="3432604" y="1314369"/>
                  </a:lnTo>
                  <a:lnTo>
                    <a:pt x="3418186" y="1263249"/>
                  </a:lnTo>
                  <a:lnTo>
                    <a:pt x="3405011" y="1212272"/>
                  </a:lnTo>
                  <a:lnTo>
                    <a:pt x="3393039" y="1161440"/>
                  </a:lnTo>
                  <a:lnTo>
                    <a:pt x="3382230" y="1110753"/>
                  </a:lnTo>
                  <a:lnTo>
                    <a:pt x="3372547" y="1060213"/>
                  </a:lnTo>
                  <a:lnTo>
                    <a:pt x="3363949" y="1009820"/>
                  </a:lnTo>
                  <a:lnTo>
                    <a:pt x="3356397" y="959576"/>
                  </a:lnTo>
                  <a:lnTo>
                    <a:pt x="3349852" y="909482"/>
                  </a:lnTo>
                  <a:lnTo>
                    <a:pt x="3344275" y="859539"/>
                  </a:lnTo>
                  <a:lnTo>
                    <a:pt x="3339626" y="809748"/>
                  </a:lnTo>
                  <a:lnTo>
                    <a:pt x="3335866" y="760111"/>
                  </a:lnTo>
                  <a:lnTo>
                    <a:pt x="3332956" y="710628"/>
                  </a:lnTo>
                  <a:lnTo>
                    <a:pt x="3330856" y="661301"/>
                  </a:lnTo>
                  <a:lnTo>
                    <a:pt x="3329527" y="612130"/>
                  </a:lnTo>
                  <a:lnTo>
                    <a:pt x="3328931" y="563117"/>
                  </a:lnTo>
                  <a:lnTo>
                    <a:pt x="3329027" y="514263"/>
                  </a:lnTo>
                  <a:lnTo>
                    <a:pt x="3329776" y="465569"/>
                  </a:lnTo>
                  <a:lnTo>
                    <a:pt x="3331139" y="417036"/>
                  </a:lnTo>
                  <a:lnTo>
                    <a:pt x="3333077" y="368665"/>
                  </a:lnTo>
                  <a:lnTo>
                    <a:pt x="3335551" y="320458"/>
                  </a:lnTo>
                  <a:lnTo>
                    <a:pt x="3338521" y="272416"/>
                  </a:lnTo>
                  <a:lnTo>
                    <a:pt x="3341948" y="224539"/>
                  </a:lnTo>
                  <a:lnTo>
                    <a:pt x="3345792" y="176829"/>
                  </a:lnTo>
                  <a:lnTo>
                    <a:pt x="3350015" y="129287"/>
                  </a:lnTo>
                  <a:lnTo>
                    <a:pt x="3354578" y="81915"/>
                  </a:lnTo>
                  <a:lnTo>
                    <a:pt x="336384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29412" y="629412"/>
              <a:ext cx="2014727" cy="818388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8423" y="5107940"/>
              <a:ext cx="1530350" cy="6350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29184" y="3768852"/>
              <a:ext cx="4434840" cy="661416"/>
            </a:xfrm>
            <a:prstGeom prst="rect">
              <a:avLst/>
            </a:prstGeom>
          </p:spPr>
        </p:pic>
      </p:grpSp>
      <p:sp>
        <p:nvSpPr>
          <p:cNvPr id="9" name="object 9"/>
          <p:cNvSpPr txBox="1"/>
          <p:nvPr/>
        </p:nvSpPr>
        <p:spPr>
          <a:xfrm>
            <a:off x="525943" y="3840714"/>
            <a:ext cx="3618914" cy="466449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2954" b="1" dirty="0">
                <a:solidFill>
                  <a:srgbClr val="006FC0"/>
                </a:solidFill>
                <a:latin typeface="Trebuchet MS"/>
                <a:cs typeface="Trebuchet MS"/>
              </a:rPr>
              <a:t>Гаражная</a:t>
            </a:r>
            <a:r>
              <a:rPr sz="2954" b="1" spc="-83" dirty="0">
                <a:solidFill>
                  <a:srgbClr val="006FC0"/>
                </a:solidFill>
                <a:latin typeface="Trebuchet MS"/>
                <a:cs typeface="Trebuchet MS"/>
              </a:rPr>
              <a:t> </a:t>
            </a:r>
            <a:r>
              <a:rPr sz="2954" b="1" spc="-5" dirty="0">
                <a:solidFill>
                  <a:srgbClr val="006FC0"/>
                </a:solidFill>
                <a:latin typeface="Trebuchet MS"/>
                <a:cs typeface="Trebuchet MS"/>
              </a:rPr>
              <a:t>амнистия</a:t>
            </a:r>
            <a:endParaRPr sz="2954" dirty="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81020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63770"/>
            <a:ext cx="9148689" cy="6339254"/>
            <a:chOff x="0" y="0"/>
            <a:chExt cx="9911080" cy="686752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905999" cy="6857996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992555" y="2321179"/>
              <a:ext cx="8505190" cy="478155"/>
            </a:xfrm>
            <a:custGeom>
              <a:avLst/>
              <a:gdLst/>
              <a:ahLst/>
              <a:cxnLst/>
              <a:rect l="l" t="t" r="r" b="b"/>
              <a:pathLst>
                <a:path w="8505190" h="478155">
                  <a:moveTo>
                    <a:pt x="8425002" y="0"/>
                  </a:moveTo>
                  <a:lnTo>
                    <a:pt x="79616" y="0"/>
                  </a:lnTo>
                  <a:lnTo>
                    <a:pt x="48627" y="6244"/>
                  </a:lnTo>
                  <a:lnTo>
                    <a:pt x="23320" y="23288"/>
                  </a:lnTo>
                  <a:lnTo>
                    <a:pt x="6257" y="48595"/>
                  </a:lnTo>
                  <a:lnTo>
                    <a:pt x="0" y="79629"/>
                  </a:lnTo>
                  <a:lnTo>
                    <a:pt x="0" y="398018"/>
                  </a:lnTo>
                  <a:lnTo>
                    <a:pt x="6257" y="428998"/>
                  </a:lnTo>
                  <a:lnTo>
                    <a:pt x="23320" y="454310"/>
                  </a:lnTo>
                  <a:lnTo>
                    <a:pt x="48627" y="471384"/>
                  </a:lnTo>
                  <a:lnTo>
                    <a:pt x="79616" y="477647"/>
                  </a:lnTo>
                  <a:lnTo>
                    <a:pt x="8425002" y="477647"/>
                  </a:lnTo>
                  <a:lnTo>
                    <a:pt x="8455982" y="471384"/>
                  </a:lnTo>
                  <a:lnTo>
                    <a:pt x="8481294" y="454310"/>
                  </a:lnTo>
                  <a:lnTo>
                    <a:pt x="8498368" y="428998"/>
                  </a:lnTo>
                  <a:lnTo>
                    <a:pt x="8504631" y="398018"/>
                  </a:lnTo>
                  <a:lnTo>
                    <a:pt x="8504631" y="79629"/>
                  </a:lnTo>
                  <a:lnTo>
                    <a:pt x="8498368" y="48595"/>
                  </a:lnTo>
                  <a:lnTo>
                    <a:pt x="8481294" y="23288"/>
                  </a:lnTo>
                  <a:lnTo>
                    <a:pt x="8455982" y="6244"/>
                  </a:lnTo>
                  <a:lnTo>
                    <a:pt x="8425002" y="0"/>
                  </a:lnTo>
                  <a:close/>
                </a:path>
              </a:pathLst>
            </a:custGeom>
            <a:solidFill>
              <a:srgbClr val="5FCAEE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5" name="object 5"/>
            <p:cNvSpPr/>
            <p:nvPr/>
          </p:nvSpPr>
          <p:spPr>
            <a:xfrm>
              <a:off x="992555" y="2321179"/>
              <a:ext cx="8505190" cy="478155"/>
            </a:xfrm>
            <a:custGeom>
              <a:avLst/>
              <a:gdLst/>
              <a:ahLst/>
              <a:cxnLst/>
              <a:rect l="l" t="t" r="r" b="b"/>
              <a:pathLst>
                <a:path w="8505190" h="478155">
                  <a:moveTo>
                    <a:pt x="0" y="79629"/>
                  </a:moveTo>
                  <a:lnTo>
                    <a:pt x="6257" y="48595"/>
                  </a:lnTo>
                  <a:lnTo>
                    <a:pt x="23320" y="23288"/>
                  </a:lnTo>
                  <a:lnTo>
                    <a:pt x="48627" y="6244"/>
                  </a:lnTo>
                  <a:lnTo>
                    <a:pt x="79616" y="0"/>
                  </a:lnTo>
                  <a:lnTo>
                    <a:pt x="8425002" y="0"/>
                  </a:lnTo>
                  <a:lnTo>
                    <a:pt x="8455982" y="6244"/>
                  </a:lnTo>
                  <a:lnTo>
                    <a:pt x="8481294" y="23288"/>
                  </a:lnTo>
                  <a:lnTo>
                    <a:pt x="8498368" y="48595"/>
                  </a:lnTo>
                  <a:lnTo>
                    <a:pt x="8504631" y="79629"/>
                  </a:lnTo>
                  <a:lnTo>
                    <a:pt x="8504631" y="398018"/>
                  </a:lnTo>
                  <a:lnTo>
                    <a:pt x="8498368" y="428998"/>
                  </a:lnTo>
                  <a:lnTo>
                    <a:pt x="8481294" y="454310"/>
                  </a:lnTo>
                  <a:lnTo>
                    <a:pt x="8455982" y="471384"/>
                  </a:lnTo>
                  <a:lnTo>
                    <a:pt x="8425002" y="477647"/>
                  </a:lnTo>
                  <a:lnTo>
                    <a:pt x="79616" y="477647"/>
                  </a:lnTo>
                  <a:lnTo>
                    <a:pt x="48627" y="471384"/>
                  </a:lnTo>
                  <a:lnTo>
                    <a:pt x="23320" y="454310"/>
                  </a:lnTo>
                  <a:lnTo>
                    <a:pt x="6257" y="428998"/>
                  </a:lnTo>
                  <a:lnTo>
                    <a:pt x="0" y="398018"/>
                  </a:lnTo>
                  <a:lnTo>
                    <a:pt x="0" y="79629"/>
                  </a:lnTo>
                  <a:close/>
                </a:path>
              </a:pathLst>
            </a:custGeom>
            <a:ln w="127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6" name="object 6"/>
            <p:cNvSpPr/>
            <p:nvPr/>
          </p:nvSpPr>
          <p:spPr>
            <a:xfrm>
              <a:off x="272478" y="336295"/>
              <a:ext cx="1106805" cy="262255"/>
            </a:xfrm>
            <a:custGeom>
              <a:avLst/>
              <a:gdLst/>
              <a:ahLst/>
              <a:cxnLst/>
              <a:rect l="l" t="t" r="r" b="b"/>
              <a:pathLst>
                <a:path w="1106805" h="262255">
                  <a:moveTo>
                    <a:pt x="975360" y="0"/>
                  </a:moveTo>
                  <a:lnTo>
                    <a:pt x="131064" y="0"/>
                  </a:lnTo>
                  <a:lnTo>
                    <a:pt x="80045" y="10298"/>
                  </a:lnTo>
                  <a:lnTo>
                    <a:pt x="38385" y="38385"/>
                  </a:lnTo>
                  <a:lnTo>
                    <a:pt x="10298" y="80045"/>
                  </a:lnTo>
                  <a:lnTo>
                    <a:pt x="0" y="131063"/>
                  </a:lnTo>
                  <a:lnTo>
                    <a:pt x="10298" y="182082"/>
                  </a:lnTo>
                  <a:lnTo>
                    <a:pt x="38385" y="223742"/>
                  </a:lnTo>
                  <a:lnTo>
                    <a:pt x="80045" y="251829"/>
                  </a:lnTo>
                  <a:lnTo>
                    <a:pt x="131064" y="262127"/>
                  </a:lnTo>
                  <a:lnTo>
                    <a:pt x="975360" y="262127"/>
                  </a:lnTo>
                  <a:lnTo>
                    <a:pt x="1026414" y="251829"/>
                  </a:lnTo>
                  <a:lnTo>
                    <a:pt x="1068093" y="223742"/>
                  </a:lnTo>
                  <a:lnTo>
                    <a:pt x="1096187" y="182082"/>
                  </a:lnTo>
                  <a:lnTo>
                    <a:pt x="1106487" y="131063"/>
                  </a:lnTo>
                  <a:lnTo>
                    <a:pt x="1096187" y="80045"/>
                  </a:lnTo>
                  <a:lnTo>
                    <a:pt x="1068093" y="38385"/>
                  </a:lnTo>
                  <a:lnTo>
                    <a:pt x="1026414" y="10298"/>
                  </a:lnTo>
                  <a:lnTo>
                    <a:pt x="9753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761719" y="1373821"/>
            <a:ext cx="7952935" cy="864586"/>
          </a:xfrm>
          <a:prstGeom prst="rect">
            <a:avLst/>
          </a:prstGeom>
        </p:spPr>
        <p:txBody>
          <a:bodyPr vert="horz" wrap="square" lIns="0" tIns="12309" rIns="0" bIns="0" rtlCol="0" anchor="ctr">
            <a:spAutoFit/>
          </a:bodyPr>
          <a:lstStyle/>
          <a:p>
            <a:pPr marL="11723" marR="4689" algn="ctr">
              <a:lnSpc>
                <a:spcPct val="100000"/>
              </a:lnSpc>
              <a:spcBef>
                <a:spcPts val="97"/>
              </a:spcBef>
            </a:pPr>
            <a:r>
              <a:rPr sz="1846" dirty="0"/>
              <a:t>Федеральный</a:t>
            </a:r>
            <a:r>
              <a:rPr sz="1846" spc="-46" dirty="0"/>
              <a:t> </a:t>
            </a:r>
            <a:r>
              <a:rPr sz="1846" dirty="0"/>
              <a:t>закон</a:t>
            </a:r>
            <a:r>
              <a:rPr sz="1846" spc="-28" dirty="0"/>
              <a:t> </a:t>
            </a:r>
            <a:r>
              <a:rPr sz="1846" dirty="0"/>
              <a:t>от</a:t>
            </a:r>
            <a:r>
              <a:rPr sz="1846" spc="-5" dirty="0"/>
              <a:t> </a:t>
            </a:r>
            <a:r>
              <a:rPr sz="1846" dirty="0"/>
              <a:t>05.04.2021</a:t>
            </a:r>
            <a:r>
              <a:rPr sz="1846" spc="14" dirty="0"/>
              <a:t> </a:t>
            </a:r>
            <a:r>
              <a:rPr sz="1846" dirty="0"/>
              <a:t>N</a:t>
            </a:r>
            <a:r>
              <a:rPr sz="1846" spc="-9" dirty="0"/>
              <a:t> </a:t>
            </a:r>
            <a:r>
              <a:rPr sz="1846" dirty="0"/>
              <a:t>79-ФЗ</a:t>
            </a:r>
            <a:r>
              <a:rPr sz="1846" spc="-14" dirty="0"/>
              <a:t> </a:t>
            </a:r>
            <a:r>
              <a:rPr sz="1846" dirty="0"/>
              <a:t>"О внесении</a:t>
            </a:r>
            <a:r>
              <a:rPr sz="1846" spc="-9" dirty="0"/>
              <a:t> </a:t>
            </a:r>
            <a:r>
              <a:rPr sz="1846" dirty="0"/>
              <a:t>изменений</a:t>
            </a:r>
            <a:r>
              <a:rPr sz="1846" spc="-18" dirty="0"/>
              <a:t> </a:t>
            </a:r>
            <a:r>
              <a:rPr sz="1846" dirty="0"/>
              <a:t>в </a:t>
            </a:r>
            <a:r>
              <a:rPr sz="1846" spc="-540" dirty="0"/>
              <a:t> </a:t>
            </a:r>
            <a:r>
              <a:rPr sz="1846" dirty="0"/>
              <a:t>отдельные</a:t>
            </a:r>
            <a:r>
              <a:rPr sz="1846" spc="-32" dirty="0"/>
              <a:t> </a:t>
            </a:r>
            <a:r>
              <a:rPr sz="1846" spc="-5" dirty="0"/>
              <a:t>законодательные</a:t>
            </a:r>
            <a:r>
              <a:rPr sz="1846" spc="-28" dirty="0"/>
              <a:t> </a:t>
            </a:r>
            <a:r>
              <a:rPr sz="1846" spc="-5" dirty="0"/>
              <a:t>акты</a:t>
            </a:r>
            <a:r>
              <a:rPr sz="1846" spc="-23" dirty="0"/>
              <a:t> </a:t>
            </a:r>
            <a:r>
              <a:rPr sz="1846" spc="-5" dirty="0"/>
              <a:t>Российской Федерации</a:t>
            </a:r>
            <a:r>
              <a:rPr sz="1846" spc="-32" dirty="0"/>
              <a:t> </a:t>
            </a:r>
            <a:r>
              <a:rPr sz="1846" dirty="0"/>
              <a:t>"</a:t>
            </a:r>
            <a:r>
              <a:rPr sz="1846" spc="28" dirty="0"/>
              <a:t> </a:t>
            </a:r>
            <a:r>
              <a:rPr sz="1846" dirty="0"/>
              <a:t>–</a:t>
            </a:r>
            <a:endParaRPr sz="1846"/>
          </a:p>
          <a:p>
            <a:pPr algn="ctr">
              <a:lnSpc>
                <a:spcPct val="100000"/>
              </a:lnSpc>
            </a:pPr>
            <a:r>
              <a:rPr sz="1846" spc="-5" dirty="0"/>
              <a:t>Закон</a:t>
            </a:r>
            <a:r>
              <a:rPr sz="1846" spc="-42" dirty="0"/>
              <a:t> </a:t>
            </a:r>
            <a:r>
              <a:rPr sz="1846" dirty="0"/>
              <a:t>о</a:t>
            </a:r>
            <a:r>
              <a:rPr sz="1846" spc="-32" dirty="0"/>
              <a:t> </a:t>
            </a:r>
            <a:r>
              <a:rPr sz="1846" spc="-5" dirty="0"/>
              <a:t>ГАРАЖНОЙ</a:t>
            </a:r>
            <a:r>
              <a:rPr sz="1846" spc="-23" dirty="0"/>
              <a:t> </a:t>
            </a:r>
            <a:r>
              <a:rPr sz="1846" dirty="0"/>
              <a:t>АМНИСТИИ</a:t>
            </a:r>
            <a:endParaRPr sz="1846"/>
          </a:p>
        </p:txBody>
      </p:sp>
      <p:sp>
        <p:nvSpPr>
          <p:cNvPr id="8" name="object 8"/>
          <p:cNvSpPr txBox="1"/>
          <p:nvPr/>
        </p:nvSpPr>
        <p:spPr>
          <a:xfrm>
            <a:off x="3854664" y="3126075"/>
            <a:ext cx="1439008" cy="238552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723">
              <a:spcBef>
                <a:spcPts val="88"/>
              </a:spcBef>
            </a:pP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ЗАКОН</a:t>
            </a:r>
            <a:r>
              <a:rPr sz="1477" spc="-6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ПРИЗВАН</a:t>
            </a:r>
            <a:endParaRPr sz="1477">
              <a:latin typeface="Trebuchet MS"/>
              <a:cs typeface="Trebuchet M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854665" y="3604330"/>
            <a:ext cx="3784795" cy="26761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276085" indent="-264948">
              <a:spcBef>
                <a:spcPts val="92"/>
              </a:spcBef>
              <a:buFont typeface="Wingdings"/>
              <a:buChar char=""/>
              <a:tabLst>
                <a:tab pos="276672" algn="l"/>
                <a:tab pos="1114306" algn="l"/>
                <a:tab pos="2031660" algn="l"/>
                <a:tab pos="2302470" algn="l"/>
              </a:tabLst>
            </a:pP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Внести	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ясность	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в	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регулирование</a:t>
            </a:r>
            <a:endParaRPr sz="1662">
              <a:latin typeface="Trebuchet MS"/>
              <a:cs typeface="Trebuchet M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119137" y="3604330"/>
            <a:ext cx="4577275" cy="523388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R="4689" algn="r">
              <a:spcBef>
                <a:spcPts val="92"/>
              </a:spcBef>
            </a:pP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вопросов</a:t>
            </a:r>
            <a:endParaRPr sz="1662">
              <a:latin typeface="Trebuchet MS"/>
              <a:cs typeface="Trebuchet MS"/>
            </a:endParaRPr>
          </a:p>
          <a:p>
            <a:pPr marR="5862" algn="r">
              <a:tabLst>
                <a:tab pos="1434940" algn="l"/>
                <a:tab pos="2086760" algn="l"/>
                <a:tab pos="2514077" algn="l"/>
                <a:tab pos="3536941" algn="l"/>
              </a:tabLst>
            </a:pP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оформления	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прав	на	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объекты	</a:t>
            </a:r>
            <a:r>
              <a:rPr sz="1662" spc="-9" dirty="0">
                <a:solidFill>
                  <a:srgbClr val="174260"/>
                </a:solidFill>
                <a:latin typeface="Trebuchet MS"/>
                <a:cs typeface="Trebuchet MS"/>
              </a:rPr>
              <a:t>гаражного</a:t>
            </a:r>
            <a:endParaRPr sz="1662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54664" y="4111048"/>
            <a:ext cx="4841045" cy="1802264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276085" marR="4689" algn="just">
              <a:spcBef>
                <a:spcPts val="92"/>
              </a:spcBef>
            </a:pP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назначения 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и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земельные участки, 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на </a:t>
            </a:r>
            <a:r>
              <a:rPr sz="1662" spc="-9" dirty="0">
                <a:solidFill>
                  <a:srgbClr val="174260"/>
                </a:solidFill>
                <a:latin typeface="Trebuchet MS"/>
                <a:cs typeface="Trebuchet MS"/>
              </a:rPr>
              <a:t>которых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 они</a:t>
            </a:r>
            <a:r>
              <a:rPr sz="1662" spc="-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расположены</a:t>
            </a:r>
            <a:endParaRPr sz="1662">
              <a:latin typeface="Trebuchet MS"/>
              <a:cs typeface="Trebuchet MS"/>
            </a:endParaRPr>
          </a:p>
          <a:p>
            <a:pPr marL="276085" indent="-264948" algn="just">
              <a:buFont typeface="Wingdings"/>
              <a:buChar char=""/>
              <a:tabLst>
                <a:tab pos="276672" algn="l"/>
              </a:tabLst>
            </a:pP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Обеспечить</a:t>
            </a:r>
            <a:r>
              <a:rPr sz="1662" spc="17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упрощенный</a:t>
            </a:r>
            <a:r>
              <a:rPr sz="1662" spc="17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прядок</a:t>
            </a:r>
            <a:r>
              <a:rPr sz="1662" spc="15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оформления</a:t>
            </a:r>
            <a:endParaRPr sz="1662">
              <a:latin typeface="Trebuchet MS"/>
              <a:cs typeface="Trebuchet MS"/>
            </a:endParaRPr>
          </a:p>
          <a:p>
            <a:pPr marL="276085" algn="just"/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прав</a:t>
            </a:r>
            <a:r>
              <a:rPr sz="1662" spc="-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на</a:t>
            </a:r>
            <a:r>
              <a:rPr sz="1662" spc="-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земельные</a:t>
            </a:r>
            <a:r>
              <a:rPr sz="1662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участки</a:t>
            </a:r>
            <a:r>
              <a:rPr sz="1662" spc="-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662" spc="-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гаражи</a:t>
            </a:r>
            <a:endParaRPr sz="1662">
              <a:latin typeface="Trebuchet MS"/>
              <a:cs typeface="Trebuchet MS"/>
            </a:endParaRPr>
          </a:p>
          <a:p>
            <a:pPr marL="276085" marR="4689" indent="-264948" algn="just">
              <a:buFont typeface="Wingdings"/>
              <a:buChar char=""/>
              <a:tabLst>
                <a:tab pos="276672" algn="l"/>
              </a:tabLst>
            </a:pP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Бесплатное</a:t>
            </a:r>
            <a:r>
              <a:rPr sz="1662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предоставление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гражданам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 в </a:t>
            </a:r>
            <a:r>
              <a:rPr sz="1662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собственность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земельных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участков</a:t>
            </a:r>
            <a:r>
              <a:rPr sz="1662" dirty="0">
                <a:solidFill>
                  <a:srgbClr val="174260"/>
                </a:solidFill>
                <a:latin typeface="Trebuchet MS"/>
                <a:cs typeface="Trebuchet MS"/>
              </a:rPr>
              <a:t> под </a:t>
            </a:r>
            <a:r>
              <a:rPr sz="1662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174260"/>
                </a:solidFill>
                <a:latin typeface="Trebuchet MS"/>
                <a:cs typeface="Trebuchet MS"/>
              </a:rPr>
              <a:t>гаражами</a:t>
            </a:r>
            <a:endParaRPr sz="1662">
              <a:latin typeface="Trebuchet MS"/>
              <a:cs typeface="Trebuchet MS"/>
            </a:endParaRPr>
          </a:p>
        </p:txBody>
      </p:sp>
      <p:pic>
        <p:nvPicPr>
          <p:cNvPr id="12" name="object 1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2263" y="2428786"/>
            <a:ext cx="7765366" cy="353099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1173362" y="2481776"/>
            <a:ext cx="7433603" cy="26761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662" b="1" spc="-5" dirty="0">
                <a:solidFill>
                  <a:srgbClr val="FFFFFF"/>
                </a:solidFill>
                <a:latin typeface="Trebuchet MS"/>
                <a:cs typeface="Trebuchet MS"/>
              </a:rPr>
              <a:t>Вступает</a:t>
            </a:r>
            <a:r>
              <a:rPr sz="1662" b="1" spc="-32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в</a:t>
            </a:r>
            <a:r>
              <a:rPr sz="1662" b="1" spc="-18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spc="-5" dirty="0">
                <a:solidFill>
                  <a:srgbClr val="FFFFFF"/>
                </a:solidFill>
                <a:latin typeface="Trebuchet MS"/>
                <a:cs typeface="Trebuchet MS"/>
              </a:rPr>
              <a:t>силу</a:t>
            </a:r>
            <a:r>
              <a:rPr sz="1662" b="1" spc="-9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с</a:t>
            </a:r>
            <a:r>
              <a:rPr sz="1662" b="1" spc="-14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1</a:t>
            </a:r>
            <a:r>
              <a:rPr sz="1662" b="1" spc="-18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spc="-5" dirty="0">
                <a:solidFill>
                  <a:srgbClr val="FFFFFF"/>
                </a:solidFill>
                <a:latin typeface="Trebuchet MS"/>
                <a:cs typeface="Trebuchet MS"/>
              </a:rPr>
              <a:t>сентября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2021</a:t>
            </a:r>
            <a:r>
              <a:rPr sz="1662" b="1" spc="-28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spc="-5" dirty="0">
                <a:solidFill>
                  <a:srgbClr val="FFFFFF"/>
                </a:solidFill>
                <a:latin typeface="Trebuchet MS"/>
                <a:cs typeface="Trebuchet MS"/>
              </a:rPr>
              <a:t>года</a:t>
            </a:r>
            <a:r>
              <a:rPr sz="1662" b="1" spc="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и</a:t>
            </a:r>
            <a:r>
              <a:rPr sz="1662" b="1" spc="-9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действует</a:t>
            </a:r>
            <a:r>
              <a:rPr sz="1662" b="1" spc="-32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до</a:t>
            </a:r>
            <a:r>
              <a:rPr sz="1662" b="1" spc="-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dirty="0">
                <a:solidFill>
                  <a:srgbClr val="FFFFFF"/>
                </a:solidFill>
                <a:latin typeface="Trebuchet MS"/>
                <a:cs typeface="Trebuchet MS"/>
              </a:rPr>
              <a:t>01.09.2026</a:t>
            </a:r>
            <a:r>
              <a:rPr sz="1662" b="1" spc="-37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662" b="1" spc="-5" dirty="0">
                <a:solidFill>
                  <a:srgbClr val="FFFFFF"/>
                </a:solidFill>
                <a:latin typeface="Trebuchet MS"/>
                <a:cs typeface="Trebuchet MS"/>
              </a:rPr>
              <a:t>года</a:t>
            </a:r>
            <a:endParaRPr sz="1662">
              <a:latin typeface="Trebuchet MS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251519" y="462745"/>
            <a:ext cx="3072032" cy="5107745"/>
            <a:chOff x="272478" y="215557"/>
            <a:chExt cx="3328035" cy="5533390"/>
          </a:xfrm>
        </p:grpSpPr>
        <p:pic>
          <p:nvPicPr>
            <p:cNvPr id="15" name="object 1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20546" y="3068955"/>
              <a:ext cx="2679649" cy="2679598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72478" y="215557"/>
              <a:ext cx="2566670" cy="10546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212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63770"/>
            <a:ext cx="9148689" cy="6339254"/>
            <a:chOff x="0" y="0"/>
            <a:chExt cx="9911080" cy="686752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795771" y="3992879"/>
              <a:ext cx="3849624" cy="2685288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520369" y="3516757"/>
              <a:ext cx="5123180" cy="478155"/>
            </a:xfrm>
            <a:custGeom>
              <a:avLst/>
              <a:gdLst/>
              <a:ahLst/>
              <a:cxnLst/>
              <a:rect l="l" t="t" r="r" b="b"/>
              <a:pathLst>
                <a:path w="5123180" h="478154">
                  <a:moveTo>
                    <a:pt x="5043246" y="0"/>
                  </a:moveTo>
                  <a:lnTo>
                    <a:pt x="79603" y="0"/>
                  </a:lnTo>
                  <a:lnTo>
                    <a:pt x="48616" y="6244"/>
                  </a:lnTo>
                  <a:lnTo>
                    <a:pt x="23314" y="23288"/>
                  </a:lnTo>
                  <a:lnTo>
                    <a:pt x="6255" y="48595"/>
                  </a:lnTo>
                  <a:lnTo>
                    <a:pt x="0" y="79628"/>
                  </a:lnTo>
                  <a:lnTo>
                    <a:pt x="0" y="398017"/>
                  </a:lnTo>
                  <a:lnTo>
                    <a:pt x="6255" y="428998"/>
                  </a:lnTo>
                  <a:lnTo>
                    <a:pt x="23314" y="454310"/>
                  </a:lnTo>
                  <a:lnTo>
                    <a:pt x="48616" y="471384"/>
                  </a:lnTo>
                  <a:lnTo>
                    <a:pt x="79603" y="477646"/>
                  </a:lnTo>
                  <a:lnTo>
                    <a:pt x="5043246" y="477646"/>
                  </a:lnTo>
                  <a:lnTo>
                    <a:pt x="5074226" y="471384"/>
                  </a:lnTo>
                  <a:lnTo>
                    <a:pt x="5099538" y="454310"/>
                  </a:lnTo>
                  <a:lnTo>
                    <a:pt x="5116612" y="428998"/>
                  </a:lnTo>
                  <a:lnTo>
                    <a:pt x="5122875" y="398017"/>
                  </a:lnTo>
                  <a:lnTo>
                    <a:pt x="5122875" y="79628"/>
                  </a:lnTo>
                  <a:lnTo>
                    <a:pt x="5116612" y="48595"/>
                  </a:lnTo>
                  <a:lnTo>
                    <a:pt x="5099538" y="23288"/>
                  </a:lnTo>
                  <a:lnTo>
                    <a:pt x="5074226" y="6244"/>
                  </a:lnTo>
                  <a:lnTo>
                    <a:pt x="5043246" y="0"/>
                  </a:lnTo>
                  <a:close/>
                </a:path>
              </a:pathLst>
            </a:custGeom>
            <a:solidFill>
              <a:srgbClr val="5FCAEE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5" name="object 5"/>
            <p:cNvSpPr/>
            <p:nvPr/>
          </p:nvSpPr>
          <p:spPr>
            <a:xfrm>
              <a:off x="520369" y="3516757"/>
              <a:ext cx="5123180" cy="478155"/>
            </a:xfrm>
            <a:custGeom>
              <a:avLst/>
              <a:gdLst/>
              <a:ahLst/>
              <a:cxnLst/>
              <a:rect l="l" t="t" r="r" b="b"/>
              <a:pathLst>
                <a:path w="5123180" h="478154">
                  <a:moveTo>
                    <a:pt x="0" y="79628"/>
                  </a:moveTo>
                  <a:lnTo>
                    <a:pt x="6255" y="48595"/>
                  </a:lnTo>
                  <a:lnTo>
                    <a:pt x="23314" y="23288"/>
                  </a:lnTo>
                  <a:lnTo>
                    <a:pt x="48616" y="6244"/>
                  </a:lnTo>
                  <a:lnTo>
                    <a:pt x="79603" y="0"/>
                  </a:lnTo>
                  <a:lnTo>
                    <a:pt x="5043246" y="0"/>
                  </a:lnTo>
                  <a:lnTo>
                    <a:pt x="5074226" y="6244"/>
                  </a:lnTo>
                  <a:lnTo>
                    <a:pt x="5099538" y="23288"/>
                  </a:lnTo>
                  <a:lnTo>
                    <a:pt x="5116612" y="48595"/>
                  </a:lnTo>
                  <a:lnTo>
                    <a:pt x="5122875" y="79628"/>
                  </a:lnTo>
                  <a:lnTo>
                    <a:pt x="5122875" y="398017"/>
                  </a:lnTo>
                  <a:lnTo>
                    <a:pt x="5116612" y="428998"/>
                  </a:lnTo>
                  <a:lnTo>
                    <a:pt x="5099538" y="454310"/>
                  </a:lnTo>
                  <a:lnTo>
                    <a:pt x="5074226" y="471384"/>
                  </a:lnTo>
                  <a:lnTo>
                    <a:pt x="5043246" y="477646"/>
                  </a:lnTo>
                  <a:lnTo>
                    <a:pt x="79603" y="477646"/>
                  </a:lnTo>
                  <a:lnTo>
                    <a:pt x="48616" y="471384"/>
                  </a:lnTo>
                  <a:lnTo>
                    <a:pt x="23314" y="454310"/>
                  </a:lnTo>
                  <a:lnTo>
                    <a:pt x="6255" y="428998"/>
                  </a:lnTo>
                  <a:lnTo>
                    <a:pt x="0" y="398017"/>
                  </a:lnTo>
                  <a:lnTo>
                    <a:pt x="0" y="79628"/>
                  </a:lnTo>
                  <a:close/>
                </a:path>
              </a:pathLst>
            </a:custGeom>
            <a:ln w="127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90143" y="1243545"/>
              <a:ext cx="5658993" cy="487718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629412" y="243840"/>
              <a:ext cx="1106805" cy="262255"/>
            </a:xfrm>
            <a:custGeom>
              <a:avLst/>
              <a:gdLst/>
              <a:ahLst/>
              <a:cxnLst/>
              <a:rect l="l" t="t" r="r" b="b"/>
              <a:pathLst>
                <a:path w="1106805" h="262255">
                  <a:moveTo>
                    <a:pt x="975360" y="0"/>
                  </a:moveTo>
                  <a:lnTo>
                    <a:pt x="131064" y="0"/>
                  </a:lnTo>
                  <a:lnTo>
                    <a:pt x="80045" y="10298"/>
                  </a:lnTo>
                  <a:lnTo>
                    <a:pt x="38385" y="38385"/>
                  </a:lnTo>
                  <a:lnTo>
                    <a:pt x="10298" y="80045"/>
                  </a:lnTo>
                  <a:lnTo>
                    <a:pt x="0" y="131063"/>
                  </a:lnTo>
                  <a:lnTo>
                    <a:pt x="10298" y="182082"/>
                  </a:lnTo>
                  <a:lnTo>
                    <a:pt x="38385" y="223742"/>
                  </a:lnTo>
                  <a:lnTo>
                    <a:pt x="80045" y="251829"/>
                  </a:lnTo>
                  <a:lnTo>
                    <a:pt x="131064" y="262127"/>
                  </a:lnTo>
                  <a:lnTo>
                    <a:pt x="975360" y="262127"/>
                  </a:lnTo>
                  <a:lnTo>
                    <a:pt x="1026378" y="251829"/>
                  </a:lnTo>
                  <a:lnTo>
                    <a:pt x="1068038" y="223742"/>
                  </a:lnTo>
                  <a:lnTo>
                    <a:pt x="1096125" y="182082"/>
                  </a:lnTo>
                  <a:lnTo>
                    <a:pt x="1106424" y="131063"/>
                  </a:lnTo>
                  <a:lnTo>
                    <a:pt x="1096125" y="80045"/>
                  </a:lnTo>
                  <a:lnTo>
                    <a:pt x="1068038" y="38385"/>
                  </a:lnTo>
                  <a:lnTo>
                    <a:pt x="1026378" y="10298"/>
                  </a:lnTo>
                  <a:lnTo>
                    <a:pt x="9753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8784218" y="6088451"/>
            <a:ext cx="110197" cy="210674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292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292">
              <a:latin typeface="Trebuchet MS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445946" y="1448269"/>
            <a:ext cx="5365652" cy="2453640"/>
            <a:chOff x="483108" y="1283208"/>
            <a:chExt cx="5812790" cy="2658110"/>
          </a:xfrm>
        </p:grpSpPr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7596" y="1283208"/>
              <a:ext cx="5718048" cy="341375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83108" y="3564636"/>
              <a:ext cx="2820924" cy="34137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023615" y="3564636"/>
              <a:ext cx="2641092" cy="341375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139440" y="3842003"/>
              <a:ext cx="2439924" cy="99060"/>
            </a:xfrm>
            <a:prstGeom prst="rect">
              <a:avLst/>
            </a:prstGeom>
          </p:spPr>
        </p:pic>
      </p:grpSp>
      <p:sp>
        <p:nvSpPr>
          <p:cNvPr id="14" name="object 14"/>
          <p:cNvSpPr txBox="1"/>
          <p:nvPr/>
        </p:nvSpPr>
        <p:spPr>
          <a:xfrm>
            <a:off x="553235" y="1493051"/>
            <a:ext cx="7424224" cy="2376637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97890">
              <a:spcBef>
                <a:spcPts val="88"/>
              </a:spcBef>
            </a:pPr>
            <a:r>
              <a:rPr sz="1477" b="1" spc="-5" dirty="0">
                <a:solidFill>
                  <a:srgbClr val="FFFFFF"/>
                </a:solidFill>
                <a:latin typeface="Trebuchet MS"/>
                <a:cs typeface="Trebuchet MS"/>
              </a:rPr>
              <a:t>ГАРАЖ</a:t>
            </a:r>
            <a:r>
              <a:rPr sz="1477" b="1" spc="-14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FFFFFF"/>
                </a:solidFill>
                <a:latin typeface="Trebuchet MS"/>
                <a:cs typeface="Trebuchet MS"/>
              </a:rPr>
              <a:t>ДОЛЖЕН</a:t>
            </a:r>
            <a:r>
              <a:rPr sz="1477" b="1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FFFFFF"/>
                </a:solidFill>
                <a:latin typeface="Trebuchet MS"/>
                <a:cs typeface="Trebuchet MS"/>
              </a:rPr>
              <a:t>ОТВЕЧАТЬ</a:t>
            </a:r>
            <a:r>
              <a:rPr sz="1477" b="1" spc="28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FFFFFF"/>
                </a:solidFill>
                <a:latin typeface="Trebuchet MS"/>
                <a:cs typeface="Trebuchet MS"/>
              </a:rPr>
              <a:t>СЛЕДУЮЩИМ</a:t>
            </a:r>
            <a:r>
              <a:rPr sz="1477" b="1" spc="32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FFFFFF"/>
                </a:solidFill>
                <a:latin typeface="Trebuchet MS"/>
                <a:cs typeface="Trebuchet MS"/>
              </a:rPr>
              <a:t>КРИТЕРИЯМ:</a:t>
            </a:r>
            <a:endParaRPr sz="1477">
              <a:latin typeface="Trebuchet MS"/>
              <a:cs typeface="Trebuchet MS"/>
            </a:endParaRPr>
          </a:p>
          <a:p>
            <a:pPr>
              <a:spcBef>
                <a:spcPts val="18"/>
              </a:spcBef>
            </a:pPr>
            <a:endParaRPr sz="1385">
              <a:latin typeface="Trebuchet MS"/>
              <a:cs typeface="Trebuchet MS"/>
            </a:endParaRPr>
          </a:p>
          <a:p>
            <a:pPr marL="334702" indent="-265534">
              <a:buFont typeface="Arial MT"/>
              <a:buChar char="•"/>
              <a:tabLst>
                <a:tab pos="334116" algn="l"/>
                <a:tab pos="335288" algn="l"/>
              </a:tabLst>
            </a:pP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возведен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до</a:t>
            </a:r>
            <a:r>
              <a:rPr sz="1477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ведения</a:t>
            </a:r>
            <a:r>
              <a:rPr sz="1477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действие</a:t>
            </a:r>
            <a:r>
              <a:rPr sz="1477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Градостроительного</a:t>
            </a:r>
            <a:r>
              <a:rPr sz="1477" spc="6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кодекса</a:t>
            </a:r>
            <a:r>
              <a:rPr sz="1477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РФ</a:t>
            </a:r>
            <a:r>
              <a:rPr sz="1477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(31.12.2004)</a:t>
            </a:r>
            <a:endParaRPr sz="1477">
              <a:latin typeface="Trebuchet MS"/>
              <a:cs typeface="Trebuchet MS"/>
            </a:endParaRPr>
          </a:p>
          <a:p>
            <a:pPr marL="334702" marR="4689" indent="-264948">
              <a:buFont typeface="Arial MT"/>
              <a:buChar char="•"/>
              <a:tabLst>
                <a:tab pos="334116" algn="l"/>
                <a:tab pos="335288" algn="l"/>
                <a:tab pos="1276089" algn="l"/>
                <a:tab pos="2270231" algn="l"/>
                <a:tab pos="3608453" algn="l"/>
                <a:tab pos="5022878" algn="l"/>
                <a:tab pos="5779621" algn="l"/>
                <a:tab pos="6685837" algn="l"/>
                <a:tab pos="7318899" algn="l"/>
              </a:tabLst>
            </a:pP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я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ляется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объ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е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кто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м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ка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п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ит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ал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ь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н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го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ст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р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тел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ь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ст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а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(и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ме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е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т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п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р</a:t>
            </a:r>
            <a:r>
              <a:rPr sz="1477" spc="-14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ч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ну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ю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св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я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з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ь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	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  землей,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перемещение</a:t>
            </a:r>
            <a:r>
              <a:rPr sz="1477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невозможно</a:t>
            </a:r>
            <a:r>
              <a:rPr sz="1477" spc="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без</a:t>
            </a:r>
            <a:r>
              <a:rPr sz="1477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несоразмерного</a:t>
            </a:r>
            <a:r>
              <a:rPr sz="1477" spc="6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ущерба</a:t>
            </a:r>
            <a:r>
              <a:rPr sz="1477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назначению);</a:t>
            </a:r>
            <a:endParaRPr sz="1477">
              <a:latin typeface="Trebuchet MS"/>
              <a:cs typeface="Trebuchet MS"/>
            </a:endParaRPr>
          </a:p>
          <a:p>
            <a:pPr marL="334702" marR="5276" indent="-264948">
              <a:buFont typeface="Arial MT"/>
              <a:buChar char="•"/>
              <a:tabLst>
                <a:tab pos="334116" algn="l"/>
                <a:tab pos="335288" algn="l"/>
              </a:tabLst>
            </a:pP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может</a:t>
            </a:r>
            <a:r>
              <a:rPr sz="1477" spc="27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быть</a:t>
            </a:r>
            <a:r>
              <a:rPr sz="1477" spc="27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блокирован</a:t>
            </a:r>
            <a:r>
              <a:rPr sz="1477" spc="2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общими</a:t>
            </a:r>
            <a:r>
              <a:rPr sz="1477" spc="26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тенами</a:t>
            </a:r>
            <a:r>
              <a:rPr sz="1477" spc="28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</a:t>
            </a:r>
            <a:r>
              <a:rPr sz="1477" spc="26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другими</a:t>
            </a:r>
            <a:r>
              <a:rPr sz="1477" spc="25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гаражами</a:t>
            </a:r>
            <a:r>
              <a:rPr sz="1477" spc="26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26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одном</a:t>
            </a:r>
            <a:r>
              <a:rPr sz="1477" spc="27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ряду, </a:t>
            </a:r>
            <a:r>
              <a:rPr sz="1477" spc="-42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меть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общие</a:t>
            </a:r>
            <a:r>
              <a:rPr sz="1477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ними</a:t>
            </a:r>
            <a:r>
              <a:rPr sz="1477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крышу,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фундамент</a:t>
            </a:r>
            <a:r>
              <a:rPr sz="1477" spc="3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коммуникации;</a:t>
            </a:r>
            <a:endParaRPr sz="1477">
              <a:latin typeface="Trebuchet MS"/>
              <a:cs typeface="Trebuchet MS"/>
            </a:endParaRPr>
          </a:p>
          <a:p>
            <a:pPr marL="334702" indent="-265534">
              <a:buFont typeface="Arial MT"/>
              <a:buChar char="•"/>
              <a:tabLst>
                <a:tab pos="334116" algn="l"/>
                <a:tab pos="335288" algn="l"/>
              </a:tabLst>
            </a:pP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может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быть</a:t>
            </a:r>
            <a:r>
              <a:rPr sz="1477" spc="3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отдельно</a:t>
            </a:r>
            <a:r>
              <a:rPr sz="1477" spc="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тоящим</a:t>
            </a:r>
            <a:r>
              <a:rPr sz="1477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объектом</a:t>
            </a:r>
            <a:r>
              <a:rPr sz="1477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капитального</a:t>
            </a:r>
            <a:r>
              <a:rPr sz="1477" spc="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троительства.</a:t>
            </a:r>
            <a:endParaRPr sz="1477">
              <a:latin typeface="Trebuchet MS"/>
              <a:cs typeface="Trebuchet MS"/>
            </a:endParaRPr>
          </a:p>
          <a:p>
            <a:pPr>
              <a:spcBef>
                <a:spcPts val="37"/>
              </a:spcBef>
            </a:pPr>
            <a:endParaRPr sz="2169">
              <a:latin typeface="Trebuchet MS"/>
              <a:cs typeface="Trebuchet MS"/>
            </a:endParaRPr>
          </a:p>
          <a:p>
            <a:pPr marL="11723"/>
            <a:r>
              <a:rPr sz="1477" b="1" spc="-5" dirty="0">
                <a:solidFill>
                  <a:srgbClr val="FFFFFF"/>
                </a:solidFill>
                <a:latin typeface="Trebuchet MS"/>
                <a:cs typeface="Trebuchet MS"/>
              </a:rPr>
              <a:t>«ГАРАЖНАЯ</a:t>
            </a:r>
            <a:r>
              <a:rPr sz="1477" b="1" spc="14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FFFFFF"/>
                </a:solidFill>
                <a:latin typeface="Trebuchet MS"/>
                <a:cs typeface="Trebuchet MS"/>
              </a:rPr>
              <a:t>АМНИСТИЯ»</a:t>
            </a:r>
            <a:r>
              <a:rPr sz="1477" b="1" spc="42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477" b="1" u="heavy" spc="-5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rebuchet MS"/>
                <a:cs typeface="Trebuchet MS"/>
              </a:rPr>
              <a:t>НЕ</a:t>
            </a:r>
            <a:r>
              <a:rPr sz="1477" b="1" u="heavy" spc="5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rebuchet MS"/>
                <a:cs typeface="Trebuchet MS"/>
              </a:rPr>
              <a:t> </a:t>
            </a:r>
            <a:r>
              <a:rPr sz="1477" b="1" u="heavy" spc="-5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rebuchet MS"/>
                <a:cs typeface="Trebuchet MS"/>
              </a:rPr>
              <a:t>РАСПРОСТРАНЯЕТСЯ</a:t>
            </a:r>
            <a:endParaRPr sz="1477"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888427" y="4194633"/>
            <a:ext cx="1236785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использования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53678" y="3983618"/>
            <a:ext cx="3050931" cy="65124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276085" indent="-264948">
              <a:spcBef>
                <a:spcPts val="92"/>
              </a:spcBef>
              <a:buFont typeface="Arial MT"/>
              <a:buChar char="•"/>
              <a:tabLst>
                <a:tab pos="276085" algn="l"/>
                <a:tab pos="276672" algn="l"/>
              </a:tabLst>
            </a:pP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на</a:t>
            </a:r>
            <a:r>
              <a:rPr sz="1385" spc="-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самовольные постройки;</a:t>
            </a:r>
            <a:endParaRPr sz="1385">
              <a:latin typeface="Trebuchet MS"/>
              <a:cs typeface="Trebuchet MS"/>
            </a:endParaRPr>
          </a:p>
          <a:p>
            <a:pPr marL="276085" marR="4689" indent="-264948">
              <a:buFont typeface="Arial MT"/>
              <a:buChar char="•"/>
              <a:tabLst>
                <a:tab pos="276085" algn="l"/>
                <a:tab pos="276672" algn="l"/>
                <a:tab pos="671163" algn="l"/>
                <a:tab pos="1563311" algn="l"/>
              </a:tabLst>
            </a:pP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на	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объ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е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к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т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ы	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спомо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г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ат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е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л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ьно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г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о 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(например</a:t>
            </a:r>
            <a:r>
              <a:rPr sz="1385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к</a:t>
            </a:r>
            <a:r>
              <a:rPr sz="1385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жилым</a:t>
            </a:r>
            <a:r>
              <a:rPr sz="1385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домам);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53678" y="4617016"/>
            <a:ext cx="2997591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276085" indent="-264948">
              <a:spcBef>
                <a:spcPts val="92"/>
              </a:spcBef>
              <a:buFont typeface="Arial MT"/>
              <a:buChar char="•"/>
              <a:tabLst>
                <a:tab pos="276085" algn="l"/>
                <a:tab pos="276672" algn="l"/>
                <a:tab pos="672921" algn="l"/>
                <a:tab pos="1532244" algn="l"/>
              </a:tabLst>
            </a:pP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на	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гаражи,	предназначенные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37783" y="4617016"/>
            <a:ext cx="1288366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  <a:tabLst>
                <a:tab pos="510553" algn="l"/>
              </a:tabLst>
            </a:pP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д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л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я	х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р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а</a:t>
            </a:r>
            <a:r>
              <a:rPr sz="1385" spc="9" dirty="0">
                <a:solidFill>
                  <a:srgbClr val="174260"/>
                </a:solidFill>
                <a:latin typeface="Trebuchet MS"/>
                <a:cs typeface="Trebuchet MS"/>
              </a:rPr>
              <a:t>н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ен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я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18432" y="4828031"/>
            <a:ext cx="3706837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  <a:tabLst>
                <a:tab pos="873977" algn="l"/>
                <a:tab pos="1180543" algn="l"/>
                <a:tab pos="2589106" algn="l"/>
              </a:tabLst>
            </a:pP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техники	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и	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оборудования,	необходимые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808689" y="4828031"/>
            <a:ext cx="315351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д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л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я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53678" y="5039047"/>
            <a:ext cx="4471182" cy="65124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276085">
              <a:spcBef>
                <a:spcPts val="92"/>
              </a:spcBef>
            </a:pP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обеспечения деятельности;</a:t>
            </a:r>
            <a:endParaRPr sz="1385">
              <a:latin typeface="Trebuchet MS"/>
              <a:cs typeface="Trebuchet MS"/>
            </a:endParaRPr>
          </a:p>
          <a:p>
            <a:pPr marL="276085" marR="4689" indent="-264948">
              <a:buFont typeface="Arial MT"/>
              <a:buChar char="•"/>
              <a:tabLst>
                <a:tab pos="276085" algn="l"/>
                <a:tab pos="276672" algn="l"/>
              </a:tabLst>
            </a:pP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на</a:t>
            </a:r>
            <a:r>
              <a:rPr sz="1385" spc="2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гаражи</a:t>
            </a:r>
            <a:r>
              <a:rPr sz="1385" spc="28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385" spc="28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многоквартирных</a:t>
            </a:r>
            <a:r>
              <a:rPr sz="1385" spc="28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домах</a:t>
            </a:r>
            <a:r>
              <a:rPr sz="1385" spc="28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385" spc="27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объектах </a:t>
            </a:r>
            <a:r>
              <a:rPr sz="1385" spc="-40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коммерческого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назначения,</a:t>
            </a:r>
            <a:r>
              <a:rPr sz="1385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подземные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гаражи;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53678" y="5672047"/>
            <a:ext cx="1539826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276085" indent="-264948">
              <a:spcBef>
                <a:spcPts val="92"/>
              </a:spcBef>
              <a:buFont typeface="Arial MT"/>
              <a:buChar char="•"/>
              <a:tabLst>
                <a:tab pos="276085" algn="l"/>
                <a:tab pos="276672" algn="l"/>
                <a:tab pos="878080" algn="l"/>
              </a:tabLst>
            </a:pP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на	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г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а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ра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ж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,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585406" y="5672047"/>
            <a:ext cx="2540391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  <a:tabLst>
                <a:tab pos="1290743" algn="l"/>
                <a:tab pos="1795434" algn="l"/>
              </a:tabLst>
            </a:pP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с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зданны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е	в	п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ря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д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к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е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,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918432" y="5883343"/>
            <a:ext cx="4209171" cy="438108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 marR="4689">
              <a:spcBef>
                <a:spcPts val="92"/>
              </a:spcBef>
              <a:tabLst>
                <a:tab pos="1614894" algn="l"/>
                <a:tab pos="2895672" algn="l"/>
                <a:tab pos="3700481" algn="l"/>
                <a:tab pos="4011737" algn="l"/>
              </a:tabLst>
            </a:pP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пред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у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с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мот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р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енн</a:t>
            </a:r>
            <a:r>
              <a:rPr sz="1385" spc="-14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м	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Ф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ед</a:t>
            </a:r>
            <a:r>
              <a:rPr sz="1385" spc="-9" dirty="0">
                <a:solidFill>
                  <a:srgbClr val="174260"/>
                </a:solidFill>
                <a:latin typeface="Trebuchet MS"/>
                <a:cs typeface="Trebuchet MS"/>
              </a:rPr>
              <a:t>е</a:t>
            </a:r>
            <a:r>
              <a:rPr sz="1385" spc="9" dirty="0">
                <a:solidFill>
                  <a:srgbClr val="174260"/>
                </a:solidFill>
                <a:latin typeface="Trebuchet MS"/>
                <a:cs typeface="Trebuchet MS"/>
              </a:rPr>
              <a:t>р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а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л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ьным	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за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к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385" spc="-14" dirty="0">
                <a:solidFill>
                  <a:srgbClr val="174260"/>
                </a:solidFill>
                <a:latin typeface="Trebuchet MS"/>
                <a:cs typeface="Trebuchet MS"/>
              </a:rPr>
              <a:t>н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м	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о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т	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30 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декабря</a:t>
            </a:r>
            <a:r>
              <a:rPr sz="1385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2004</a:t>
            </a:r>
            <a:r>
              <a:rPr sz="1385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174260"/>
                </a:solidFill>
                <a:latin typeface="Trebuchet MS"/>
                <a:cs typeface="Trebuchet MS"/>
              </a:rPr>
              <a:t>года 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N</a:t>
            </a:r>
            <a:r>
              <a:rPr sz="1385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174260"/>
                </a:solidFill>
                <a:latin typeface="Trebuchet MS"/>
                <a:cs typeface="Trebuchet MS"/>
              </a:rPr>
              <a:t>214-ФЗ.</a:t>
            </a:r>
            <a:endParaRPr sz="1385">
              <a:latin typeface="Trebuchet MS"/>
              <a:cs typeface="Trebuchet MS"/>
            </a:endParaRPr>
          </a:p>
        </p:txBody>
      </p:sp>
      <p:pic>
        <p:nvPicPr>
          <p:cNvPr id="25" name="object 2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51519" y="437189"/>
            <a:ext cx="2370992" cy="97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28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33294" y="248107"/>
            <a:ext cx="9148689" cy="6339254"/>
            <a:chOff x="0" y="0"/>
            <a:chExt cx="9911080" cy="686752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905999" cy="6857996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84110" y="904684"/>
              <a:ext cx="8524113" cy="1247838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629412" y="243840"/>
              <a:ext cx="1106805" cy="262255"/>
            </a:xfrm>
            <a:custGeom>
              <a:avLst/>
              <a:gdLst/>
              <a:ahLst/>
              <a:cxnLst/>
              <a:rect l="l" t="t" r="r" b="b"/>
              <a:pathLst>
                <a:path w="1106805" h="262255">
                  <a:moveTo>
                    <a:pt x="975360" y="0"/>
                  </a:moveTo>
                  <a:lnTo>
                    <a:pt x="131064" y="0"/>
                  </a:lnTo>
                  <a:lnTo>
                    <a:pt x="80045" y="10298"/>
                  </a:lnTo>
                  <a:lnTo>
                    <a:pt x="38385" y="38385"/>
                  </a:lnTo>
                  <a:lnTo>
                    <a:pt x="10298" y="80045"/>
                  </a:lnTo>
                  <a:lnTo>
                    <a:pt x="0" y="131063"/>
                  </a:lnTo>
                  <a:lnTo>
                    <a:pt x="10298" y="182082"/>
                  </a:lnTo>
                  <a:lnTo>
                    <a:pt x="38385" y="223742"/>
                  </a:lnTo>
                  <a:lnTo>
                    <a:pt x="80045" y="251829"/>
                  </a:lnTo>
                  <a:lnTo>
                    <a:pt x="131064" y="262127"/>
                  </a:lnTo>
                  <a:lnTo>
                    <a:pt x="975360" y="262127"/>
                  </a:lnTo>
                  <a:lnTo>
                    <a:pt x="1026378" y="251829"/>
                  </a:lnTo>
                  <a:lnTo>
                    <a:pt x="1068038" y="223742"/>
                  </a:lnTo>
                  <a:lnTo>
                    <a:pt x="1096125" y="182082"/>
                  </a:lnTo>
                  <a:lnTo>
                    <a:pt x="1106424" y="131063"/>
                  </a:lnTo>
                  <a:lnTo>
                    <a:pt x="1096125" y="80045"/>
                  </a:lnTo>
                  <a:lnTo>
                    <a:pt x="1068038" y="38385"/>
                  </a:lnTo>
                  <a:lnTo>
                    <a:pt x="1026378" y="10298"/>
                  </a:lnTo>
                  <a:lnTo>
                    <a:pt x="9753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784218" y="6088451"/>
            <a:ext cx="110197" cy="210674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292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292">
              <a:latin typeface="Trebuchet MS"/>
              <a:cs typeface="Trebuchet MS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34522" y="263770"/>
            <a:ext cx="8594774" cy="1921998"/>
            <a:chOff x="145732" y="1143"/>
            <a:chExt cx="9311005" cy="2082164"/>
          </a:xfrm>
        </p:grpSpPr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5732" y="1143"/>
              <a:ext cx="2073783" cy="852169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21080" y="1053084"/>
              <a:ext cx="1610868" cy="420624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287524" y="1053084"/>
              <a:ext cx="7168896" cy="420624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29511" y="1357884"/>
              <a:ext cx="7620000" cy="420624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782567" y="1662684"/>
              <a:ext cx="1786127" cy="420624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224272" y="1662684"/>
              <a:ext cx="1395983" cy="420624"/>
            </a:xfrm>
            <a:prstGeom prst="rect">
              <a:avLst/>
            </a:prstGeom>
          </p:spPr>
        </p:pic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1023257" y="1239227"/>
            <a:ext cx="7535655" cy="1028092"/>
          </a:xfrm>
          <a:prstGeom prst="rect">
            <a:avLst/>
          </a:prstGeom>
          <a:effectLst/>
        </p:spPr>
        <p:txBody>
          <a:bodyPr vert="horz" wrap="square" lIns="0" tIns="12309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lang="ru-RU" sz="2200" b="1" dirty="0">
                <a:solidFill>
                  <a:srgbClr val="FFFFFF"/>
                </a:solidFill>
              </a:rPr>
              <a:t>Перечень</a:t>
            </a:r>
            <a:r>
              <a:rPr lang="ru-RU" sz="2200" b="1" spc="-45" dirty="0">
                <a:solidFill>
                  <a:srgbClr val="FFFFFF"/>
                </a:solidFill>
              </a:rPr>
              <a:t> </a:t>
            </a:r>
            <a:r>
              <a:rPr lang="ru-RU" sz="2200" b="1" spc="-5" dirty="0">
                <a:solidFill>
                  <a:srgbClr val="FFFFFF"/>
                </a:solidFill>
              </a:rPr>
              <a:t>документов,</a:t>
            </a:r>
            <a:r>
              <a:rPr lang="ru-RU" sz="2200" b="1" spc="-10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которые</a:t>
            </a:r>
            <a:r>
              <a:rPr lang="ru-RU" sz="2200" b="1" spc="-25" dirty="0">
                <a:solidFill>
                  <a:srgbClr val="FFFFFF"/>
                </a:solidFill>
              </a:rPr>
              <a:t> </a:t>
            </a:r>
            <a:r>
              <a:rPr lang="ru-RU" sz="2200" b="1" spc="-5" dirty="0">
                <a:solidFill>
                  <a:srgbClr val="FFFFFF"/>
                </a:solidFill>
              </a:rPr>
              <a:t>могут </a:t>
            </a:r>
            <a:r>
              <a:rPr lang="ru-RU" sz="2200" b="1" dirty="0">
                <a:solidFill>
                  <a:srgbClr val="FFFFFF"/>
                </a:solidFill>
              </a:rPr>
              <a:t>подтверждать</a:t>
            </a:r>
            <a:r>
              <a:rPr lang="ru-RU" sz="2200" b="1" spc="-35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законность</a:t>
            </a:r>
            <a:r>
              <a:rPr lang="ru-RU" sz="2200" b="1" dirty="0"/>
              <a:t/>
            </a:r>
            <a:br>
              <a:rPr lang="ru-RU" sz="2200" b="1" dirty="0"/>
            </a:br>
            <a:r>
              <a:rPr lang="ru-RU" sz="2200" b="1" dirty="0">
                <a:solidFill>
                  <a:srgbClr val="FFFFFF"/>
                </a:solidFill>
              </a:rPr>
              <a:t>возведения</a:t>
            </a:r>
            <a:r>
              <a:rPr lang="ru-RU" sz="2200" b="1" spc="-50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и</a:t>
            </a:r>
            <a:r>
              <a:rPr lang="ru-RU" sz="2200" b="1" spc="-15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использования</a:t>
            </a:r>
            <a:r>
              <a:rPr lang="ru-RU" sz="2200" b="1" spc="-60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гаража</a:t>
            </a:r>
            <a:r>
              <a:rPr lang="ru-RU" sz="2200" b="1" spc="-25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на</a:t>
            </a:r>
            <a:r>
              <a:rPr lang="ru-RU" sz="2200" b="1" spc="-10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соответствующем </a:t>
            </a:r>
            <a:r>
              <a:rPr lang="ru-RU" sz="2200" b="1" spc="-585" dirty="0">
                <a:solidFill>
                  <a:srgbClr val="FFFFFF"/>
                </a:solidFill>
              </a:rPr>
              <a:t> </a:t>
            </a:r>
            <a:r>
              <a:rPr lang="ru-RU" sz="2200" b="1" spc="-5" dirty="0">
                <a:solidFill>
                  <a:srgbClr val="FFFFFF"/>
                </a:solidFill>
              </a:rPr>
              <a:t>земельном</a:t>
            </a:r>
            <a:r>
              <a:rPr lang="ru-RU" sz="2200" b="1" spc="-40" dirty="0">
                <a:solidFill>
                  <a:srgbClr val="FFFFFF"/>
                </a:solidFill>
              </a:rPr>
              <a:t> </a:t>
            </a:r>
            <a:r>
              <a:rPr lang="ru-RU" sz="2200" b="1" dirty="0">
                <a:solidFill>
                  <a:srgbClr val="FFFFFF"/>
                </a:solidFill>
              </a:rPr>
              <a:t>участке:</a:t>
            </a:r>
            <a:endParaRPr sz="2200" b="1" dirty="0"/>
          </a:p>
        </p:txBody>
      </p:sp>
      <p:grpSp>
        <p:nvGrpSpPr>
          <p:cNvPr id="15" name="object 15"/>
          <p:cNvGrpSpPr/>
          <p:nvPr/>
        </p:nvGrpSpPr>
        <p:grpSpPr>
          <a:xfrm>
            <a:off x="377319" y="2584000"/>
            <a:ext cx="2728546" cy="1431388"/>
            <a:chOff x="408762" y="2513583"/>
            <a:chExt cx="2955925" cy="1550670"/>
          </a:xfrm>
        </p:grpSpPr>
        <p:sp>
          <p:nvSpPr>
            <p:cNvPr id="16" name="object 16"/>
            <p:cNvSpPr/>
            <p:nvPr/>
          </p:nvSpPr>
          <p:spPr>
            <a:xfrm>
              <a:off x="427812" y="2532633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2665526" y="0"/>
                  </a:moveTo>
                  <a:lnTo>
                    <a:pt x="252031" y="0"/>
                  </a:lnTo>
                  <a:lnTo>
                    <a:pt x="206728" y="4058"/>
                  </a:lnTo>
                  <a:lnTo>
                    <a:pt x="164090" y="15759"/>
                  </a:lnTo>
                  <a:lnTo>
                    <a:pt x="124826" y="34393"/>
                  </a:lnTo>
                  <a:lnTo>
                    <a:pt x="89651" y="59248"/>
                  </a:lnTo>
                  <a:lnTo>
                    <a:pt x="59275" y="89614"/>
                  </a:lnTo>
                  <a:lnTo>
                    <a:pt x="34409" y="124779"/>
                  </a:lnTo>
                  <a:lnTo>
                    <a:pt x="15767" y="164034"/>
                  </a:lnTo>
                  <a:lnTo>
                    <a:pt x="4060" y="206667"/>
                  </a:lnTo>
                  <a:lnTo>
                    <a:pt x="0" y="251967"/>
                  </a:lnTo>
                  <a:lnTo>
                    <a:pt x="0" y="1260093"/>
                  </a:lnTo>
                  <a:lnTo>
                    <a:pt x="4060" y="1305398"/>
                  </a:lnTo>
                  <a:lnTo>
                    <a:pt x="15767" y="1348043"/>
                  </a:lnTo>
                  <a:lnTo>
                    <a:pt x="34409" y="1387315"/>
                  </a:lnTo>
                  <a:lnTo>
                    <a:pt x="59275" y="1422500"/>
                  </a:lnTo>
                  <a:lnTo>
                    <a:pt x="89651" y="1452887"/>
                  </a:lnTo>
                  <a:lnTo>
                    <a:pt x="124826" y="1477762"/>
                  </a:lnTo>
                  <a:lnTo>
                    <a:pt x="164090" y="1496413"/>
                  </a:lnTo>
                  <a:lnTo>
                    <a:pt x="206728" y="1508126"/>
                  </a:lnTo>
                  <a:lnTo>
                    <a:pt x="252031" y="1512189"/>
                  </a:lnTo>
                  <a:lnTo>
                    <a:pt x="2665526" y="1512189"/>
                  </a:lnTo>
                  <a:lnTo>
                    <a:pt x="2710831" y="1508126"/>
                  </a:lnTo>
                  <a:lnTo>
                    <a:pt x="2753476" y="1496413"/>
                  </a:lnTo>
                  <a:lnTo>
                    <a:pt x="2792747" y="1477762"/>
                  </a:lnTo>
                  <a:lnTo>
                    <a:pt x="2827933" y="1452887"/>
                  </a:lnTo>
                  <a:lnTo>
                    <a:pt x="2858320" y="1422500"/>
                  </a:lnTo>
                  <a:lnTo>
                    <a:pt x="2883195" y="1387315"/>
                  </a:lnTo>
                  <a:lnTo>
                    <a:pt x="2901845" y="1348043"/>
                  </a:lnTo>
                  <a:lnTo>
                    <a:pt x="2913559" y="1305398"/>
                  </a:lnTo>
                  <a:lnTo>
                    <a:pt x="2917621" y="1260093"/>
                  </a:lnTo>
                  <a:lnTo>
                    <a:pt x="2917621" y="251967"/>
                  </a:lnTo>
                  <a:lnTo>
                    <a:pt x="2913559" y="206667"/>
                  </a:lnTo>
                  <a:lnTo>
                    <a:pt x="2901845" y="164034"/>
                  </a:lnTo>
                  <a:lnTo>
                    <a:pt x="2883195" y="124779"/>
                  </a:lnTo>
                  <a:lnTo>
                    <a:pt x="2858320" y="89614"/>
                  </a:lnTo>
                  <a:lnTo>
                    <a:pt x="2827933" y="59248"/>
                  </a:lnTo>
                  <a:lnTo>
                    <a:pt x="2792747" y="34393"/>
                  </a:lnTo>
                  <a:lnTo>
                    <a:pt x="2753476" y="15759"/>
                  </a:lnTo>
                  <a:lnTo>
                    <a:pt x="2710831" y="4058"/>
                  </a:lnTo>
                  <a:lnTo>
                    <a:pt x="266552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17" name="object 17"/>
            <p:cNvSpPr/>
            <p:nvPr/>
          </p:nvSpPr>
          <p:spPr>
            <a:xfrm>
              <a:off x="427812" y="2532633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0" y="251967"/>
                  </a:moveTo>
                  <a:lnTo>
                    <a:pt x="4060" y="206667"/>
                  </a:lnTo>
                  <a:lnTo>
                    <a:pt x="15767" y="164034"/>
                  </a:lnTo>
                  <a:lnTo>
                    <a:pt x="34409" y="124779"/>
                  </a:lnTo>
                  <a:lnTo>
                    <a:pt x="59275" y="89614"/>
                  </a:lnTo>
                  <a:lnTo>
                    <a:pt x="89651" y="59248"/>
                  </a:lnTo>
                  <a:lnTo>
                    <a:pt x="124826" y="34393"/>
                  </a:lnTo>
                  <a:lnTo>
                    <a:pt x="164090" y="15759"/>
                  </a:lnTo>
                  <a:lnTo>
                    <a:pt x="206728" y="4058"/>
                  </a:lnTo>
                  <a:lnTo>
                    <a:pt x="252031" y="0"/>
                  </a:lnTo>
                  <a:lnTo>
                    <a:pt x="2665526" y="0"/>
                  </a:lnTo>
                  <a:lnTo>
                    <a:pt x="2710831" y="4058"/>
                  </a:lnTo>
                  <a:lnTo>
                    <a:pt x="2753476" y="15759"/>
                  </a:lnTo>
                  <a:lnTo>
                    <a:pt x="2792747" y="34393"/>
                  </a:lnTo>
                  <a:lnTo>
                    <a:pt x="2827933" y="59248"/>
                  </a:lnTo>
                  <a:lnTo>
                    <a:pt x="2858320" y="89614"/>
                  </a:lnTo>
                  <a:lnTo>
                    <a:pt x="2883195" y="124779"/>
                  </a:lnTo>
                  <a:lnTo>
                    <a:pt x="2901845" y="164034"/>
                  </a:lnTo>
                  <a:lnTo>
                    <a:pt x="2913559" y="206667"/>
                  </a:lnTo>
                  <a:lnTo>
                    <a:pt x="2917621" y="251967"/>
                  </a:lnTo>
                  <a:lnTo>
                    <a:pt x="2917621" y="1260093"/>
                  </a:lnTo>
                  <a:lnTo>
                    <a:pt x="2913559" y="1305398"/>
                  </a:lnTo>
                  <a:lnTo>
                    <a:pt x="2901845" y="1348043"/>
                  </a:lnTo>
                  <a:lnTo>
                    <a:pt x="2883195" y="1387315"/>
                  </a:lnTo>
                  <a:lnTo>
                    <a:pt x="2858320" y="1422500"/>
                  </a:lnTo>
                  <a:lnTo>
                    <a:pt x="2827933" y="1452887"/>
                  </a:lnTo>
                  <a:lnTo>
                    <a:pt x="2792747" y="1477762"/>
                  </a:lnTo>
                  <a:lnTo>
                    <a:pt x="2753476" y="1496413"/>
                  </a:lnTo>
                  <a:lnTo>
                    <a:pt x="2710831" y="1508126"/>
                  </a:lnTo>
                  <a:lnTo>
                    <a:pt x="2665526" y="1512189"/>
                  </a:lnTo>
                  <a:lnTo>
                    <a:pt x="252031" y="1512189"/>
                  </a:lnTo>
                  <a:lnTo>
                    <a:pt x="206728" y="1508126"/>
                  </a:lnTo>
                  <a:lnTo>
                    <a:pt x="164090" y="1496413"/>
                  </a:lnTo>
                  <a:lnTo>
                    <a:pt x="124826" y="1477762"/>
                  </a:lnTo>
                  <a:lnTo>
                    <a:pt x="89651" y="1452887"/>
                  </a:lnTo>
                  <a:lnTo>
                    <a:pt x="59275" y="1422500"/>
                  </a:lnTo>
                  <a:lnTo>
                    <a:pt x="34409" y="1387315"/>
                  </a:lnTo>
                  <a:lnTo>
                    <a:pt x="15767" y="1348043"/>
                  </a:lnTo>
                  <a:lnTo>
                    <a:pt x="4060" y="1305398"/>
                  </a:lnTo>
                  <a:lnTo>
                    <a:pt x="0" y="1260093"/>
                  </a:lnTo>
                  <a:lnTo>
                    <a:pt x="0" y="251967"/>
                  </a:lnTo>
                  <a:close/>
                </a:path>
              </a:pathLst>
            </a:custGeom>
            <a:ln w="381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561957" y="2628313"/>
            <a:ext cx="2335237" cy="1303907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137" marR="4689" algn="ctr">
              <a:spcBef>
                <a:spcPts val="88"/>
              </a:spcBef>
            </a:pP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Документ о предоставлении или </a:t>
            </a:r>
            <a:r>
              <a:rPr sz="1200" spc="-3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ином</a:t>
            </a:r>
            <a:r>
              <a:rPr sz="1200" spc="-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выделении</a:t>
            </a:r>
            <a:r>
              <a:rPr sz="1200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ражданину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земельного</a:t>
            </a:r>
            <a:r>
              <a:rPr sz="1200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участка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либо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о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возникновении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у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ражданина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права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на использование такого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земельного</a:t>
            </a:r>
            <a:r>
              <a:rPr sz="1200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участка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по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иным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основаниям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3306376" y="2564540"/>
            <a:ext cx="5690382" cy="1436663"/>
            <a:chOff x="3581908" y="2492501"/>
            <a:chExt cx="6164580" cy="1556385"/>
          </a:xfrm>
        </p:grpSpPr>
        <p:sp>
          <p:nvSpPr>
            <p:cNvPr id="20" name="object 20"/>
            <p:cNvSpPr/>
            <p:nvPr/>
          </p:nvSpPr>
          <p:spPr>
            <a:xfrm>
              <a:off x="3600958" y="2517139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2665603" y="0"/>
                  </a:moveTo>
                  <a:lnTo>
                    <a:pt x="252094" y="0"/>
                  </a:lnTo>
                  <a:lnTo>
                    <a:pt x="206790" y="4062"/>
                  </a:lnTo>
                  <a:lnTo>
                    <a:pt x="164145" y="15775"/>
                  </a:lnTo>
                  <a:lnTo>
                    <a:pt x="124873" y="34426"/>
                  </a:lnTo>
                  <a:lnTo>
                    <a:pt x="89688" y="59301"/>
                  </a:lnTo>
                  <a:lnTo>
                    <a:pt x="59301" y="89688"/>
                  </a:lnTo>
                  <a:lnTo>
                    <a:pt x="34426" y="124873"/>
                  </a:lnTo>
                  <a:lnTo>
                    <a:pt x="15775" y="164145"/>
                  </a:lnTo>
                  <a:lnTo>
                    <a:pt x="4062" y="206790"/>
                  </a:lnTo>
                  <a:lnTo>
                    <a:pt x="0" y="252095"/>
                  </a:lnTo>
                  <a:lnTo>
                    <a:pt x="0" y="1260221"/>
                  </a:lnTo>
                  <a:lnTo>
                    <a:pt x="4062" y="1305521"/>
                  </a:lnTo>
                  <a:lnTo>
                    <a:pt x="15775" y="1348154"/>
                  </a:lnTo>
                  <a:lnTo>
                    <a:pt x="34426" y="1387409"/>
                  </a:lnTo>
                  <a:lnTo>
                    <a:pt x="59301" y="1422574"/>
                  </a:lnTo>
                  <a:lnTo>
                    <a:pt x="89688" y="1452940"/>
                  </a:lnTo>
                  <a:lnTo>
                    <a:pt x="124873" y="1477795"/>
                  </a:lnTo>
                  <a:lnTo>
                    <a:pt x="164145" y="1496429"/>
                  </a:lnTo>
                  <a:lnTo>
                    <a:pt x="206790" y="1508130"/>
                  </a:lnTo>
                  <a:lnTo>
                    <a:pt x="252094" y="1512189"/>
                  </a:lnTo>
                  <a:lnTo>
                    <a:pt x="2665603" y="1512189"/>
                  </a:lnTo>
                  <a:lnTo>
                    <a:pt x="2710903" y="1508130"/>
                  </a:lnTo>
                  <a:lnTo>
                    <a:pt x="2753536" y="1496429"/>
                  </a:lnTo>
                  <a:lnTo>
                    <a:pt x="2792791" y="1477795"/>
                  </a:lnTo>
                  <a:lnTo>
                    <a:pt x="2827956" y="1452940"/>
                  </a:lnTo>
                  <a:lnTo>
                    <a:pt x="2858322" y="1422574"/>
                  </a:lnTo>
                  <a:lnTo>
                    <a:pt x="2883177" y="1387409"/>
                  </a:lnTo>
                  <a:lnTo>
                    <a:pt x="2901811" y="1348154"/>
                  </a:lnTo>
                  <a:lnTo>
                    <a:pt x="2913512" y="1305521"/>
                  </a:lnTo>
                  <a:lnTo>
                    <a:pt x="2917570" y="1260221"/>
                  </a:lnTo>
                  <a:lnTo>
                    <a:pt x="2917570" y="252095"/>
                  </a:lnTo>
                  <a:lnTo>
                    <a:pt x="2913512" y="206790"/>
                  </a:lnTo>
                  <a:lnTo>
                    <a:pt x="2901811" y="164145"/>
                  </a:lnTo>
                  <a:lnTo>
                    <a:pt x="2883177" y="124873"/>
                  </a:lnTo>
                  <a:lnTo>
                    <a:pt x="2858322" y="89688"/>
                  </a:lnTo>
                  <a:lnTo>
                    <a:pt x="2827956" y="59301"/>
                  </a:lnTo>
                  <a:lnTo>
                    <a:pt x="2792791" y="34426"/>
                  </a:lnTo>
                  <a:lnTo>
                    <a:pt x="2753536" y="15775"/>
                  </a:lnTo>
                  <a:lnTo>
                    <a:pt x="2710903" y="4062"/>
                  </a:lnTo>
                  <a:lnTo>
                    <a:pt x="2665603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1" name="object 21"/>
            <p:cNvSpPr/>
            <p:nvPr/>
          </p:nvSpPr>
          <p:spPr>
            <a:xfrm>
              <a:off x="3600958" y="2517139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0" y="252095"/>
                  </a:moveTo>
                  <a:lnTo>
                    <a:pt x="4062" y="206790"/>
                  </a:lnTo>
                  <a:lnTo>
                    <a:pt x="15775" y="164145"/>
                  </a:lnTo>
                  <a:lnTo>
                    <a:pt x="34426" y="124873"/>
                  </a:lnTo>
                  <a:lnTo>
                    <a:pt x="59301" y="89688"/>
                  </a:lnTo>
                  <a:lnTo>
                    <a:pt x="89688" y="59301"/>
                  </a:lnTo>
                  <a:lnTo>
                    <a:pt x="124873" y="34426"/>
                  </a:lnTo>
                  <a:lnTo>
                    <a:pt x="164145" y="15775"/>
                  </a:lnTo>
                  <a:lnTo>
                    <a:pt x="206790" y="4062"/>
                  </a:lnTo>
                  <a:lnTo>
                    <a:pt x="252094" y="0"/>
                  </a:lnTo>
                  <a:lnTo>
                    <a:pt x="2665603" y="0"/>
                  </a:lnTo>
                  <a:lnTo>
                    <a:pt x="2710903" y="4062"/>
                  </a:lnTo>
                  <a:lnTo>
                    <a:pt x="2753536" y="15775"/>
                  </a:lnTo>
                  <a:lnTo>
                    <a:pt x="2792791" y="34426"/>
                  </a:lnTo>
                  <a:lnTo>
                    <a:pt x="2827956" y="59301"/>
                  </a:lnTo>
                  <a:lnTo>
                    <a:pt x="2858322" y="89688"/>
                  </a:lnTo>
                  <a:lnTo>
                    <a:pt x="2883177" y="124873"/>
                  </a:lnTo>
                  <a:lnTo>
                    <a:pt x="2901811" y="164145"/>
                  </a:lnTo>
                  <a:lnTo>
                    <a:pt x="2913512" y="206790"/>
                  </a:lnTo>
                  <a:lnTo>
                    <a:pt x="2917570" y="252095"/>
                  </a:lnTo>
                  <a:lnTo>
                    <a:pt x="2917570" y="1260221"/>
                  </a:lnTo>
                  <a:lnTo>
                    <a:pt x="2913512" y="1305521"/>
                  </a:lnTo>
                  <a:lnTo>
                    <a:pt x="2901811" y="1348154"/>
                  </a:lnTo>
                  <a:lnTo>
                    <a:pt x="2883177" y="1387409"/>
                  </a:lnTo>
                  <a:lnTo>
                    <a:pt x="2858322" y="1422574"/>
                  </a:lnTo>
                  <a:lnTo>
                    <a:pt x="2827956" y="1452940"/>
                  </a:lnTo>
                  <a:lnTo>
                    <a:pt x="2792791" y="1477795"/>
                  </a:lnTo>
                  <a:lnTo>
                    <a:pt x="2753536" y="1496429"/>
                  </a:lnTo>
                  <a:lnTo>
                    <a:pt x="2710903" y="1508130"/>
                  </a:lnTo>
                  <a:lnTo>
                    <a:pt x="2665603" y="1512189"/>
                  </a:lnTo>
                  <a:lnTo>
                    <a:pt x="252094" y="1512189"/>
                  </a:lnTo>
                  <a:lnTo>
                    <a:pt x="206790" y="1508130"/>
                  </a:lnTo>
                  <a:lnTo>
                    <a:pt x="164145" y="1496429"/>
                  </a:lnTo>
                  <a:lnTo>
                    <a:pt x="124873" y="1477795"/>
                  </a:lnTo>
                  <a:lnTo>
                    <a:pt x="89688" y="1452940"/>
                  </a:lnTo>
                  <a:lnTo>
                    <a:pt x="59301" y="1422574"/>
                  </a:lnTo>
                  <a:lnTo>
                    <a:pt x="34426" y="1387409"/>
                  </a:lnTo>
                  <a:lnTo>
                    <a:pt x="15775" y="1348154"/>
                  </a:lnTo>
                  <a:lnTo>
                    <a:pt x="4062" y="1305521"/>
                  </a:lnTo>
                  <a:lnTo>
                    <a:pt x="0" y="1260221"/>
                  </a:lnTo>
                  <a:lnTo>
                    <a:pt x="0" y="252095"/>
                  </a:lnTo>
                  <a:close/>
                </a:path>
              </a:pathLst>
            </a:custGeom>
            <a:ln w="381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2" name="object 22"/>
            <p:cNvSpPr/>
            <p:nvPr/>
          </p:nvSpPr>
          <p:spPr>
            <a:xfrm>
              <a:off x="6809486" y="2511551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2665603" y="0"/>
                  </a:moveTo>
                  <a:lnTo>
                    <a:pt x="252095" y="0"/>
                  </a:lnTo>
                  <a:lnTo>
                    <a:pt x="206790" y="4058"/>
                  </a:lnTo>
                  <a:lnTo>
                    <a:pt x="164145" y="15759"/>
                  </a:lnTo>
                  <a:lnTo>
                    <a:pt x="124873" y="34393"/>
                  </a:lnTo>
                  <a:lnTo>
                    <a:pt x="89688" y="59248"/>
                  </a:lnTo>
                  <a:lnTo>
                    <a:pt x="59301" y="89614"/>
                  </a:lnTo>
                  <a:lnTo>
                    <a:pt x="34426" y="124779"/>
                  </a:lnTo>
                  <a:lnTo>
                    <a:pt x="15775" y="164034"/>
                  </a:lnTo>
                  <a:lnTo>
                    <a:pt x="4062" y="206667"/>
                  </a:lnTo>
                  <a:lnTo>
                    <a:pt x="0" y="251968"/>
                  </a:lnTo>
                  <a:lnTo>
                    <a:pt x="0" y="1260094"/>
                  </a:lnTo>
                  <a:lnTo>
                    <a:pt x="4062" y="1305394"/>
                  </a:lnTo>
                  <a:lnTo>
                    <a:pt x="15775" y="1348027"/>
                  </a:lnTo>
                  <a:lnTo>
                    <a:pt x="34426" y="1387282"/>
                  </a:lnTo>
                  <a:lnTo>
                    <a:pt x="59301" y="1422447"/>
                  </a:lnTo>
                  <a:lnTo>
                    <a:pt x="89688" y="1452813"/>
                  </a:lnTo>
                  <a:lnTo>
                    <a:pt x="124873" y="1477668"/>
                  </a:lnTo>
                  <a:lnTo>
                    <a:pt x="164145" y="1496302"/>
                  </a:lnTo>
                  <a:lnTo>
                    <a:pt x="206790" y="1508003"/>
                  </a:lnTo>
                  <a:lnTo>
                    <a:pt x="252095" y="1512062"/>
                  </a:lnTo>
                  <a:lnTo>
                    <a:pt x="2665603" y="1512062"/>
                  </a:lnTo>
                  <a:lnTo>
                    <a:pt x="2710903" y="1508003"/>
                  </a:lnTo>
                  <a:lnTo>
                    <a:pt x="2753536" y="1496302"/>
                  </a:lnTo>
                  <a:lnTo>
                    <a:pt x="2792791" y="1477668"/>
                  </a:lnTo>
                  <a:lnTo>
                    <a:pt x="2827956" y="1452813"/>
                  </a:lnTo>
                  <a:lnTo>
                    <a:pt x="2858322" y="1422447"/>
                  </a:lnTo>
                  <a:lnTo>
                    <a:pt x="2883177" y="1387282"/>
                  </a:lnTo>
                  <a:lnTo>
                    <a:pt x="2901811" y="1348027"/>
                  </a:lnTo>
                  <a:lnTo>
                    <a:pt x="2913512" y="1305394"/>
                  </a:lnTo>
                  <a:lnTo>
                    <a:pt x="2917571" y="1260094"/>
                  </a:lnTo>
                  <a:lnTo>
                    <a:pt x="2917571" y="251968"/>
                  </a:lnTo>
                  <a:lnTo>
                    <a:pt x="2913512" y="206667"/>
                  </a:lnTo>
                  <a:lnTo>
                    <a:pt x="2901811" y="164034"/>
                  </a:lnTo>
                  <a:lnTo>
                    <a:pt x="2883177" y="124779"/>
                  </a:lnTo>
                  <a:lnTo>
                    <a:pt x="2858322" y="89614"/>
                  </a:lnTo>
                  <a:lnTo>
                    <a:pt x="2827956" y="59248"/>
                  </a:lnTo>
                  <a:lnTo>
                    <a:pt x="2792791" y="34393"/>
                  </a:lnTo>
                  <a:lnTo>
                    <a:pt x="2753536" y="15759"/>
                  </a:lnTo>
                  <a:lnTo>
                    <a:pt x="2710903" y="4058"/>
                  </a:lnTo>
                  <a:lnTo>
                    <a:pt x="2665603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3" name="object 23"/>
            <p:cNvSpPr/>
            <p:nvPr/>
          </p:nvSpPr>
          <p:spPr>
            <a:xfrm>
              <a:off x="6809486" y="2511551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0" y="251968"/>
                  </a:moveTo>
                  <a:lnTo>
                    <a:pt x="4062" y="206667"/>
                  </a:lnTo>
                  <a:lnTo>
                    <a:pt x="15775" y="164034"/>
                  </a:lnTo>
                  <a:lnTo>
                    <a:pt x="34426" y="124779"/>
                  </a:lnTo>
                  <a:lnTo>
                    <a:pt x="59301" y="89614"/>
                  </a:lnTo>
                  <a:lnTo>
                    <a:pt x="89688" y="59248"/>
                  </a:lnTo>
                  <a:lnTo>
                    <a:pt x="124873" y="34393"/>
                  </a:lnTo>
                  <a:lnTo>
                    <a:pt x="164145" y="15759"/>
                  </a:lnTo>
                  <a:lnTo>
                    <a:pt x="206790" y="4058"/>
                  </a:lnTo>
                  <a:lnTo>
                    <a:pt x="252095" y="0"/>
                  </a:lnTo>
                  <a:lnTo>
                    <a:pt x="2665603" y="0"/>
                  </a:lnTo>
                  <a:lnTo>
                    <a:pt x="2710903" y="4058"/>
                  </a:lnTo>
                  <a:lnTo>
                    <a:pt x="2753536" y="15759"/>
                  </a:lnTo>
                  <a:lnTo>
                    <a:pt x="2792791" y="34393"/>
                  </a:lnTo>
                  <a:lnTo>
                    <a:pt x="2827956" y="59248"/>
                  </a:lnTo>
                  <a:lnTo>
                    <a:pt x="2858322" y="89614"/>
                  </a:lnTo>
                  <a:lnTo>
                    <a:pt x="2883177" y="124779"/>
                  </a:lnTo>
                  <a:lnTo>
                    <a:pt x="2901811" y="164034"/>
                  </a:lnTo>
                  <a:lnTo>
                    <a:pt x="2913512" y="206667"/>
                  </a:lnTo>
                  <a:lnTo>
                    <a:pt x="2917571" y="251968"/>
                  </a:lnTo>
                  <a:lnTo>
                    <a:pt x="2917571" y="1260094"/>
                  </a:lnTo>
                  <a:lnTo>
                    <a:pt x="2913512" y="1305394"/>
                  </a:lnTo>
                  <a:lnTo>
                    <a:pt x="2901811" y="1348027"/>
                  </a:lnTo>
                  <a:lnTo>
                    <a:pt x="2883177" y="1387282"/>
                  </a:lnTo>
                  <a:lnTo>
                    <a:pt x="2858322" y="1422447"/>
                  </a:lnTo>
                  <a:lnTo>
                    <a:pt x="2827956" y="1452813"/>
                  </a:lnTo>
                  <a:lnTo>
                    <a:pt x="2792791" y="1477668"/>
                  </a:lnTo>
                  <a:lnTo>
                    <a:pt x="2753536" y="1496302"/>
                  </a:lnTo>
                  <a:lnTo>
                    <a:pt x="2710903" y="1508003"/>
                  </a:lnTo>
                  <a:lnTo>
                    <a:pt x="2665603" y="1512062"/>
                  </a:lnTo>
                  <a:lnTo>
                    <a:pt x="252095" y="1512062"/>
                  </a:lnTo>
                  <a:lnTo>
                    <a:pt x="206790" y="1508003"/>
                  </a:lnTo>
                  <a:lnTo>
                    <a:pt x="164145" y="1496302"/>
                  </a:lnTo>
                  <a:lnTo>
                    <a:pt x="124873" y="1477668"/>
                  </a:lnTo>
                  <a:lnTo>
                    <a:pt x="89688" y="1452813"/>
                  </a:lnTo>
                  <a:lnTo>
                    <a:pt x="59301" y="1422447"/>
                  </a:lnTo>
                  <a:lnTo>
                    <a:pt x="34426" y="1387282"/>
                  </a:lnTo>
                  <a:lnTo>
                    <a:pt x="15775" y="1348027"/>
                  </a:lnTo>
                  <a:lnTo>
                    <a:pt x="4062" y="1305394"/>
                  </a:lnTo>
                  <a:lnTo>
                    <a:pt x="0" y="1260094"/>
                  </a:lnTo>
                  <a:lnTo>
                    <a:pt x="0" y="251968"/>
                  </a:lnTo>
                  <a:close/>
                </a:path>
              </a:pathLst>
            </a:custGeom>
            <a:ln w="381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3408133" y="2637340"/>
            <a:ext cx="2498188" cy="1303907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137" marR="4689" algn="ctr">
              <a:spcBef>
                <a:spcPts val="88"/>
              </a:spcBef>
            </a:pP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Документ о подключении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(технологическом присоединении) </a:t>
            </a:r>
            <a:r>
              <a:rPr sz="1200" spc="-3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аража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к сетям инженерно-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технического обеспечения,</a:t>
            </a:r>
            <a:r>
              <a:rPr sz="1200" spc="3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и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(или)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договор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о предоставлении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коммунальных</a:t>
            </a:r>
            <a:r>
              <a:rPr sz="1200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услуг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связи</a:t>
            </a:r>
            <a:r>
              <a:rPr sz="1200" spc="-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с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использованием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аража</a:t>
            </a:r>
            <a:endParaRPr sz="1200" dirty="0">
              <a:latin typeface="Trebuchet MS"/>
              <a:cs typeface="Trebuchet M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513107" y="2911426"/>
            <a:ext cx="2189871" cy="565244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723" marR="4689" indent="-1172" algn="ctr">
              <a:spcBef>
                <a:spcPts val="88"/>
              </a:spcBef>
            </a:pP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Документ, подтверждающий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выплату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ражданином</a:t>
            </a:r>
            <a:r>
              <a:rPr sz="1200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паевого </a:t>
            </a:r>
            <a:r>
              <a:rPr sz="1200" spc="-3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взноса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405572" y="4289708"/>
            <a:ext cx="8591257" cy="1463040"/>
            <a:chOff x="439369" y="4361434"/>
            <a:chExt cx="9307195" cy="1584960"/>
          </a:xfrm>
        </p:grpSpPr>
        <p:sp>
          <p:nvSpPr>
            <p:cNvPr id="27" name="object 27"/>
            <p:cNvSpPr/>
            <p:nvPr/>
          </p:nvSpPr>
          <p:spPr>
            <a:xfrm>
              <a:off x="458419" y="4380484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2665526" y="0"/>
                  </a:moveTo>
                  <a:lnTo>
                    <a:pt x="252031" y="0"/>
                  </a:lnTo>
                  <a:lnTo>
                    <a:pt x="206728" y="4058"/>
                  </a:lnTo>
                  <a:lnTo>
                    <a:pt x="164090" y="15759"/>
                  </a:lnTo>
                  <a:lnTo>
                    <a:pt x="124826" y="34393"/>
                  </a:lnTo>
                  <a:lnTo>
                    <a:pt x="89651" y="59248"/>
                  </a:lnTo>
                  <a:lnTo>
                    <a:pt x="59275" y="89614"/>
                  </a:lnTo>
                  <a:lnTo>
                    <a:pt x="34409" y="124779"/>
                  </a:lnTo>
                  <a:lnTo>
                    <a:pt x="15767" y="164034"/>
                  </a:lnTo>
                  <a:lnTo>
                    <a:pt x="4060" y="206667"/>
                  </a:lnTo>
                  <a:lnTo>
                    <a:pt x="0" y="251968"/>
                  </a:lnTo>
                  <a:lnTo>
                    <a:pt x="0" y="1260094"/>
                  </a:lnTo>
                  <a:lnTo>
                    <a:pt x="4060" y="1305396"/>
                  </a:lnTo>
                  <a:lnTo>
                    <a:pt x="15767" y="1348035"/>
                  </a:lnTo>
                  <a:lnTo>
                    <a:pt x="34409" y="1387298"/>
                  </a:lnTo>
                  <a:lnTo>
                    <a:pt x="59275" y="1422474"/>
                  </a:lnTo>
                  <a:lnTo>
                    <a:pt x="89651" y="1452850"/>
                  </a:lnTo>
                  <a:lnTo>
                    <a:pt x="124826" y="1477715"/>
                  </a:lnTo>
                  <a:lnTo>
                    <a:pt x="164090" y="1496357"/>
                  </a:lnTo>
                  <a:lnTo>
                    <a:pt x="206728" y="1508064"/>
                  </a:lnTo>
                  <a:lnTo>
                    <a:pt x="252031" y="1512125"/>
                  </a:lnTo>
                  <a:lnTo>
                    <a:pt x="2665526" y="1512125"/>
                  </a:lnTo>
                  <a:lnTo>
                    <a:pt x="2710831" y="1508064"/>
                  </a:lnTo>
                  <a:lnTo>
                    <a:pt x="2753476" y="1496357"/>
                  </a:lnTo>
                  <a:lnTo>
                    <a:pt x="2792747" y="1477715"/>
                  </a:lnTo>
                  <a:lnTo>
                    <a:pt x="2827933" y="1452850"/>
                  </a:lnTo>
                  <a:lnTo>
                    <a:pt x="2858320" y="1422474"/>
                  </a:lnTo>
                  <a:lnTo>
                    <a:pt x="2883195" y="1387298"/>
                  </a:lnTo>
                  <a:lnTo>
                    <a:pt x="2901845" y="1348035"/>
                  </a:lnTo>
                  <a:lnTo>
                    <a:pt x="2913559" y="1305396"/>
                  </a:lnTo>
                  <a:lnTo>
                    <a:pt x="2917621" y="1260094"/>
                  </a:lnTo>
                  <a:lnTo>
                    <a:pt x="2917621" y="251968"/>
                  </a:lnTo>
                  <a:lnTo>
                    <a:pt x="2913559" y="206667"/>
                  </a:lnTo>
                  <a:lnTo>
                    <a:pt x="2901845" y="164034"/>
                  </a:lnTo>
                  <a:lnTo>
                    <a:pt x="2883195" y="124779"/>
                  </a:lnTo>
                  <a:lnTo>
                    <a:pt x="2858320" y="89614"/>
                  </a:lnTo>
                  <a:lnTo>
                    <a:pt x="2827933" y="59248"/>
                  </a:lnTo>
                  <a:lnTo>
                    <a:pt x="2792747" y="34393"/>
                  </a:lnTo>
                  <a:lnTo>
                    <a:pt x="2753476" y="15759"/>
                  </a:lnTo>
                  <a:lnTo>
                    <a:pt x="2710831" y="4058"/>
                  </a:lnTo>
                  <a:lnTo>
                    <a:pt x="2665526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8" name="object 28"/>
            <p:cNvSpPr/>
            <p:nvPr/>
          </p:nvSpPr>
          <p:spPr>
            <a:xfrm>
              <a:off x="458419" y="4380484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0" y="251968"/>
                  </a:moveTo>
                  <a:lnTo>
                    <a:pt x="4060" y="206667"/>
                  </a:lnTo>
                  <a:lnTo>
                    <a:pt x="15767" y="164034"/>
                  </a:lnTo>
                  <a:lnTo>
                    <a:pt x="34409" y="124779"/>
                  </a:lnTo>
                  <a:lnTo>
                    <a:pt x="59275" y="89614"/>
                  </a:lnTo>
                  <a:lnTo>
                    <a:pt x="89651" y="59248"/>
                  </a:lnTo>
                  <a:lnTo>
                    <a:pt x="124826" y="34393"/>
                  </a:lnTo>
                  <a:lnTo>
                    <a:pt x="164090" y="15759"/>
                  </a:lnTo>
                  <a:lnTo>
                    <a:pt x="206728" y="4058"/>
                  </a:lnTo>
                  <a:lnTo>
                    <a:pt x="252031" y="0"/>
                  </a:lnTo>
                  <a:lnTo>
                    <a:pt x="2665526" y="0"/>
                  </a:lnTo>
                  <a:lnTo>
                    <a:pt x="2710831" y="4058"/>
                  </a:lnTo>
                  <a:lnTo>
                    <a:pt x="2753476" y="15759"/>
                  </a:lnTo>
                  <a:lnTo>
                    <a:pt x="2792747" y="34393"/>
                  </a:lnTo>
                  <a:lnTo>
                    <a:pt x="2827933" y="59248"/>
                  </a:lnTo>
                  <a:lnTo>
                    <a:pt x="2858320" y="89614"/>
                  </a:lnTo>
                  <a:lnTo>
                    <a:pt x="2883195" y="124779"/>
                  </a:lnTo>
                  <a:lnTo>
                    <a:pt x="2901845" y="164034"/>
                  </a:lnTo>
                  <a:lnTo>
                    <a:pt x="2913559" y="206667"/>
                  </a:lnTo>
                  <a:lnTo>
                    <a:pt x="2917621" y="251968"/>
                  </a:lnTo>
                  <a:lnTo>
                    <a:pt x="2917621" y="1260094"/>
                  </a:lnTo>
                  <a:lnTo>
                    <a:pt x="2913559" y="1305396"/>
                  </a:lnTo>
                  <a:lnTo>
                    <a:pt x="2901845" y="1348035"/>
                  </a:lnTo>
                  <a:lnTo>
                    <a:pt x="2883195" y="1387298"/>
                  </a:lnTo>
                  <a:lnTo>
                    <a:pt x="2858320" y="1422474"/>
                  </a:lnTo>
                  <a:lnTo>
                    <a:pt x="2827933" y="1452850"/>
                  </a:lnTo>
                  <a:lnTo>
                    <a:pt x="2792747" y="1477715"/>
                  </a:lnTo>
                  <a:lnTo>
                    <a:pt x="2753476" y="1496357"/>
                  </a:lnTo>
                  <a:lnTo>
                    <a:pt x="2710831" y="1508064"/>
                  </a:lnTo>
                  <a:lnTo>
                    <a:pt x="2665526" y="1512125"/>
                  </a:lnTo>
                  <a:lnTo>
                    <a:pt x="252031" y="1512125"/>
                  </a:lnTo>
                  <a:lnTo>
                    <a:pt x="206728" y="1508064"/>
                  </a:lnTo>
                  <a:lnTo>
                    <a:pt x="164090" y="1496357"/>
                  </a:lnTo>
                  <a:lnTo>
                    <a:pt x="124826" y="1477715"/>
                  </a:lnTo>
                  <a:lnTo>
                    <a:pt x="89651" y="1452850"/>
                  </a:lnTo>
                  <a:lnTo>
                    <a:pt x="59275" y="1422474"/>
                  </a:lnTo>
                  <a:lnTo>
                    <a:pt x="34409" y="1387298"/>
                  </a:lnTo>
                  <a:lnTo>
                    <a:pt x="15767" y="1348035"/>
                  </a:lnTo>
                  <a:lnTo>
                    <a:pt x="4060" y="1305396"/>
                  </a:lnTo>
                  <a:lnTo>
                    <a:pt x="0" y="1260094"/>
                  </a:lnTo>
                  <a:lnTo>
                    <a:pt x="0" y="251968"/>
                  </a:lnTo>
                  <a:close/>
                </a:path>
              </a:pathLst>
            </a:custGeom>
            <a:ln w="381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9" name="object 29"/>
            <p:cNvSpPr/>
            <p:nvPr/>
          </p:nvSpPr>
          <p:spPr>
            <a:xfrm>
              <a:off x="3630422" y="4415028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2665603" y="0"/>
                  </a:moveTo>
                  <a:lnTo>
                    <a:pt x="251967" y="0"/>
                  </a:lnTo>
                  <a:lnTo>
                    <a:pt x="206667" y="4062"/>
                  </a:lnTo>
                  <a:lnTo>
                    <a:pt x="164034" y="15775"/>
                  </a:lnTo>
                  <a:lnTo>
                    <a:pt x="124779" y="34426"/>
                  </a:lnTo>
                  <a:lnTo>
                    <a:pt x="89614" y="59301"/>
                  </a:lnTo>
                  <a:lnTo>
                    <a:pt x="59248" y="89688"/>
                  </a:lnTo>
                  <a:lnTo>
                    <a:pt x="34393" y="124873"/>
                  </a:lnTo>
                  <a:lnTo>
                    <a:pt x="15759" y="164145"/>
                  </a:lnTo>
                  <a:lnTo>
                    <a:pt x="4058" y="206790"/>
                  </a:lnTo>
                  <a:lnTo>
                    <a:pt x="0" y="252095"/>
                  </a:lnTo>
                  <a:lnTo>
                    <a:pt x="0" y="1260182"/>
                  </a:lnTo>
                  <a:lnTo>
                    <a:pt x="4058" y="1305485"/>
                  </a:lnTo>
                  <a:lnTo>
                    <a:pt x="15759" y="1348124"/>
                  </a:lnTo>
                  <a:lnTo>
                    <a:pt x="34393" y="1387387"/>
                  </a:lnTo>
                  <a:lnTo>
                    <a:pt x="59248" y="1422563"/>
                  </a:lnTo>
                  <a:lnTo>
                    <a:pt x="89614" y="1452939"/>
                  </a:lnTo>
                  <a:lnTo>
                    <a:pt x="124779" y="1477804"/>
                  </a:lnTo>
                  <a:lnTo>
                    <a:pt x="164034" y="1496446"/>
                  </a:lnTo>
                  <a:lnTo>
                    <a:pt x="206667" y="1508153"/>
                  </a:lnTo>
                  <a:lnTo>
                    <a:pt x="251967" y="1512214"/>
                  </a:lnTo>
                  <a:lnTo>
                    <a:pt x="2665603" y="1512214"/>
                  </a:lnTo>
                  <a:lnTo>
                    <a:pt x="2710903" y="1508153"/>
                  </a:lnTo>
                  <a:lnTo>
                    <a:pt x="2753536" y="1496446"/>
                  </a:lnTo>
                  <a:lnTo>
                    <a:pt x="2792791" y="1477804"/>
                  </a:lnTo>
                  <a:lnTo>
                    <a:pt x="2827956" y="1452939"/>
                  </a:lnTo>
                  <a:lnTo>
                    <a:pt x="2858322" y="1422563"/>
                  </a:lnTo>
                  <a:lnTo>
                    <a:pt x="2883177" y="1387387"/>
                  </a:lnTo>
                  <a:lnTo>
                    <a:pt x="2901811" y="1348124"/>
                  </a:lnTo>
                  <a:lnTo>
                    <a:pt x="2913512" y="1305485"/>
                  </a:lnTo>
                  <a:lnTo>
                    <a:pt x="2917571" y="1260182"/>
                  </a:lnTo>
                  <a:lnTo>
                    <a:pt x="2917571" y="252095"/>
                  </a:lnTo>
                  <a:lnTo>
                    <a:pt x="2913512" y="206790"/>
                  </a:lnTo>
                  <a:lnTo>
                    <a:pt x="2901811" y="164145"/>
                  </a:lnTo>
                  <a:lnTo>
                    <a:pt x="2883177" y="124873"/>
                  </a:lnTo>
                  <a:lnTo>
                    <a:pt x="2858322" y="89688"/>
                  </a:lnTo>
                  <a:lnTo>
                    <a:pt x="2827956" y="59301"/>
                  </a:lnTo>
                  <a:lnTo>
                    <a:pt x="2792791" y="34426"/>
                  </a:lnTo>
                  <a:lnTo>
                    <a:pt x="2753536" y="15775"/>
                  </a:lnTo>
                  <a:lnTo>
                    <a:pt x="2710903" y="4062"/>
                  </a:lnTo>
                  <a:lnTo>
                    <a:pt x="2665603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30" name="object 30"/>
            <p:cNvSpPr/>
            <p:nvPr/>
          </p:nvSpPr>
          <p:spPr>
            <a:xfrm>
              <a:off x="3630422" y="4415028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0" y="252095"/>
                  </a:moveTo>
                  <a:lnTo>
                    <a:pt x="4058" y="206790"/>
                  </a:lnTo>
                  <a:lnTo>
                    <a:pt x="15759" y="164145"/>
                  </a:lnTo>
                  <a:lnTo>
                    <a:pt x="34393" y="124873"/>
                  </a:lnTo>
                  <a:lnTo>
                    <a:pt x="59248" y="89688"/>
                  </a:lnTo>
                  <a:lnTo>
                    <a:pt x="89614" y="59301"/>
                  </a:lnTo>
                  <a:lnTo>
                    <a:pt x="124779" y="34426"/>
                  </a:lnTo>
                  <a:lnTo>
                    <a:pt x="164034" y="15775"/>
                  </a:lnTo>
                  <a:lnTo>
                    <a:pt x="206667" y="4062"/>
                  </a:lnTo>
                  <a:lnTo>
                    <a:pt x="251967" y="0"/>
                  </a:lnTo>
                  <a:lnTo>
                    <a:pt x="2665603" y="0"/>
                  </a:lnTo>
                  <a:lnTo>
                    <a:pt x="2710903" y="4062"/>
                  </a:lnTo>
                  <a:lnTo>
                    <a:pt x="2753536" y="15775"/>
                  </a:lnTo>
                  <a:lnTo>
                    <a:pt x="2792791" y="34426"/>
                  </a:lnTo>
                  <a:lnTo>
                    <a:pt x="2827956" y="59301"/>
                  </a:lnTo>
                  <a:lnTo>
                    <a:pt x="2858322" y="89688"/>
                  </a:lnTo>
                  <a:lnTo>
                    <a:pt x="2883177" y="124873"/>
                  </a:lnTo>
                  <a:lnTo>
                    <a:pt x="2901811" y="164145"/>
                  </a:lnTo>
                  <a:lnTo>
                    <a:pt x="2913512" y="206790"/>
                  </a:lnTo>
                  <a:lnTo>
                    <a:pt x="2917571" y="252095"/>
                  </a:lnTo>
                  <a:lnTo>
                    <a:pt x="2917571" y="1260182"/>
                  </a:lnTo>
                  <a:lnTo>
                    <a:pt x="2913512" y="1305485"/>
                  </a:lnTo>
                  <a:lnTo>
                    <a:pt x="2901811" y="1348124"/>
                  </a:lnTo>
                  <a:lnTo>
                    <a:pt x="2883177" y="1387387"/>
                  </a:lnTo>
                  <a:lnTo>
                    <a:pt x="2858322" y="1422563"/>
                  </a:lnTo>
                  <a:lnTo>
                    <a:pt x="2827956" y="1452939"/>
                  </a:lnTo>
                  <a:lnTo>
                    <a:pt x="2792791" y="1477804"/>
                  </a:lnTo>
                  <a:lnTo>
                    <a:pt x="2753536" y="1496446"/>
                  </a:lnTo>
                  <a:lnTo>
                    <a:pt x="2710903" y="1508153"/>
                  </a:lnTo>
                  <a:lnTo>
                    <a:pt x="2665603" y="1512214"/>
                  </a:lnTo>
                  <a:lnTo>
                    <a:pt x="251967" y="1512214"/>
                  </a:lnTo>
                  <a:lnTo>
                    <a:pt x="206667" y="1508153"/>
                  </a:lnTo>
                  <a:lnTo>
                    <a:pt x="164034" y="1496446"/>
                  </a:lnTo>
                  <a:lnTo>
                    <a:pt x="124779" y="1477804"/>
                  </a:lnTo>
                  <a:lnTo>
                    <a:pt x="89614" y="1452939"/>
                  </a:lnTo>
                  <a:lnTo>
                    <a:pt x="59248" y="1422563"/>
                  </a:lnTo>
                  <a:lnTo>
                    <a:pt x="34393" y="1387387"/>
                  </a:lnTo>
                  <a:lnTo>
                    <a:pt x="15759" y="1348124"/>
                  </a:lnTo>
                  <a:lnTo>
                    <a:pt x="4058" y="1305485"/>
                  </a:lnTo>
                  <a:lnTo>
                    <a:pt x="0" y="1260182"/>
                  </a:lnTo>
                  <a:lnTo>
                    <a:pt x="0" y="252095"/>
                  </a:lnTo>
                  <a:close/>
                </a:path>
              </a:pathLst>
            </a:custGeom>
            <a:ln w="381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31" name="object 31"/>
            <p:cNvSpPr/>
            <p:nvPr/>
          </p:nvSpPr>
          <p:spPr>
            <a:xfrm>
              <a:off x="6809486" y="4415028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2665603" y="0"/>
                  </a:moveTo>
                  <a:lnTo>
                    <a:pt x="252095" y="0"/>
                  </a:lnTo>
                  <a:lnTo>
                    <a:pt x="206790" y="4062"/>
                  </a:lnTo>
                  <a:lnTo>
                    <a:pt x="164145" y="15775"/>
                  </a:lnTo>
                  <a:lnTo>
                    <a:pt x="124873" y="34426"/>
                  </a:lnTo>
                  <a:lnTo>
                    <a:pt x="89688" y="59301"/>
                  </a:lnTo>
                  <a:lnTo>
                    <a:pt x="59301" y="89688"/>
                  </a:lnTo>
                  <a:lnTo>
                    <a:pt x="34426" y="124873"/>
                  </a:lnTo>
                  <a:lnTo>
                    <a:pt x="15775" y="164145"/>
                  </a:lnTo>
                  <a:lnTo>
                    <a:pt x="4062" y="206790"/>
                  </a:lnTo>
                  <a:lnTo>
                    <a:pt x="0" y="252095"/>
                  </a:lnTo>
                  <a:lnTo>
                    <a:pt x="0" y="1260182"/>
                  </a:lnTo>
                  <a:lnTo>
                    <a:pt x="4062" y="1305485"/>
                  </a:lnTo>
                  <a:lnTo>
                    <a:pt x="15775" y="1348124"/>
                  </a:lnTo>
                  <a:lnTo>
                    <a:pt x="34426" y="1387387"/>
                  </a:lnTo>
                  <a:lnTo>
                    <a:pt x="59301" y="1422563"/>
                  </a:lnTo>
                  <a:lnTo>
                    <a:pt x="89688" y="1452939"/>
                  </a:lnTo>
                  <a:lnTo>
                    <a:pt x="124873" y="1477804"/>
                  </a:lnTo>
                  <a:lnTo>
                    <a:pt x="164145" y="1496446"/>
                  </a:lnTo>
                  <a:lnTo>
                    <a:pt x="206790" y="1508153"/>
                  </a:lnTo>
                  <a:lnTo>
                    <a:pt x="252095" y="1512214"/>
                  </a:lnTo>
                  <a:lnTo>
                    <a:pt x="2665603" y="1512214"/>
                  </a:lnTo>
                  <a:lnTo>
                    <a:pt x="2710903" y="1508153"/>
                  </a:lnTo>
                  <a:lnTo>
                    <a:pt x="2753536" y="1496446"/>
                  </a:lnTo>
                  <a:lnTo>
                    <a:pt x="2792791" y="1477804"/>
                  </a:lnTo>
                  <a:lnTo>
                    <a:pt x="2827956" y="1452939"/>
                  </a:lnTo>
                  <a:lnTo>
                    <a:pt x="2858322" y="1422563"/>
                  </a:lnTo>
                  <a:lnTo>
                    <a:pt x="2883177" y="1387387"/>
                  </a:lnTo>
                  <a:lnTo>
                    <a:pt x="2901811" y="1348124"/>
                  </a:lnTo>
                  <a:lnTo>
                    <a:pt x="2913512" y="1305485"/>
                  </a:lnTo>
                  <a:lnTo>
                    <a:pt x="2917571" y="1260182"/>
                  </a:lnTo>
                  <a:lnTo>
                    <a:pt x="2917571" y="252095"/>
                  </a:lnTo>
                  <a:lnTo>
                    <a:pt x="2913512" y="206790"/>
                  </a:lnTo>
                  <a:lnTo>
                    <a:pt x="2901811" y="164145"/>
                  </a:lnTo>
                  <a:lnTo>
                    <a:pt x="2883177" y="124873"/>
                  </a:lnTo>
                  <a:lnTo>
                    <a:pt x="2858322" y="89688"/>
                  </a:lnTo>
                  <a:lnTo>
                    <a:pt x="2827956" y="59301"/>
                  </a:lnTo>
                  <a:lnTo>
                    <a:pt x="2792791" y="34426"/>
                  </a:lnTo>
                  <a:lnTo>
                    <a:pt x="2753536" y="15775"/>
                  </a:lnTo>
                  <a:lnTo>
                    <a:pt x="2710903" y="4062"/>
                  </a:lnTo>
                  <a:lnTo>
                    <a:pt x="2665603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32" name="object 32"/>
            <p:cNvSpPr/>
            <p:nvPr/>
          </p:nvSpPr>
          <p:spPr>
            <a:xfrm>
              <a:off x="6809486" y="4415028"/>
              <a:ext cx="2917825" cy="1512570"/>
            </a:xfrm>
            <a:custGeom>
              <a:avLst/>
              <a:gdLst/>
              <a:ahLst/>
              <a:cxnLst/>
              <a:rect l="l" t="t" r="r" b="b"/>
              <a:pathLst>
                <a:path w="2917825" h="1512570">
                  <a:moveTo>
                    <a:pt x="0" y="252095"/>
                  </a:moveTo>
                  <a:lnTo>
                    <a:pt x="4062" y="206790"/>
                  </a:lnTo>
                  <a:lnTo>
                    <a:pt x="15775" y="164145"/>
                  </a:lnTo>
                  <a:lnTo>
                    <a:pt x="34426" y="124873"/>
                  </a:lnTo>
                  <a:lnTo>
                    <a:pt x="59301" y="89688"/>
                  </a:lnTo>
                  <a:lnTo>
                    <a:pt x="89688" y="59301"/>
                  </a:lnTo>
                  <a:lnTo>
                    <a:pt x="124873" y="34426"/>
                  </a:lnTo>
                  <a:lnTo>
                    <a:pt x="164145" y="15775"/>
                  </a:lnTo>
                  <a:lnTo>
                    <a:pt x="206790" y="4062"/>
                  </a:lnTo>
                  <a:lnTo>
                    <a:pt x="252095" y="0"/>
                  </a:lnTo>
                  <a:lnTo>
                    <a:pt x="2665603" y="0"/>
                  </a:lnTo>
                  <a:lnTo>
                    <a:pt x="2710903" y="4062"/>
                  </a:lnTo>
                  <a:lnTo>
                    <a:pt x="2753536" y="15775"/>
                  </a:lnTo>
                  <a:lnTo>
                    <a:pt x="2792791" y="34426"/>
                  </a:lnTo>
                  <a:lnTo>
                    <a:pt x="2827956" y="59301"/>
                  </a:lnTo>
                  <a:lnTo>
                    <a:pt x="2858322" y="89688"/>
                  </a:lnTo>
                  <a:lnTo>
                    <a:pt x="2883177" y="124873"/>
                  </a:lnTo>
                  <a:lnTo>
                    <a:pt x="2901811" y="164145"/>
                  </a:lnTo>
                  <a:lnTo>
                    <a:pt x="2913512" y="206790"/>
                  </a:lnTo>
                  <a:lnTo>
                    <a:pt x="2917571" y="252095"/>
                  </a:lnTo>
                  <a:lnTo>
                    <a:pt x="2917571" y="1260182"/>
                  </a:lnTo>
                  <a:lnTo>
                    <a:pt x="2913512" y="1305485"/>
                  </a:lnTo>
                  <a:lnTo>
                    <a:pt x="2901811" y="1348124"/>
                  </a:lnTo>
                  <a:lnTo>
                    <a:pt x="2883177" y="1387387"/>
                  </a:lnTo>
                  <a:lnTo>
                    <a:pt x="2858322" y="1422563"/>
                  </a:lnTo>
                  <a:lnTo>
                    <a:pt x="2827956" y="1452939"/>
                  </a:lnTo>
                  <a:lnTo>
                    <a:pt x="2792791" y="1477804"/>
                  </a:lnTo>
                  <a:lnTo>
                    <a:pt x="2753536" y="1496446"/>
                  </a:lnTo>
                  <a:lnTo>
                    <a:pt x="2710903" y="1508153"/>
                  </a:lnTo>
                  <a:lnTo>
                    <a:pt x="2665603" y="1512214"/>
                  </a:lnTo>
                  <a:lnTo>
                    <a:pt x="252095" y="1512214"/>
                  </a:lnTo>
                  <a:lnTo>
                    <a:pt x="206790" y="1508153"/>
                  </a:lnTo>
                  <a:lnTo>
                    <a:pt x="164145" y="1496446"/>
                  </a:lnTo>
                  <a:lnTo>
                    <a:pt x="124873" y="1477804"/>
                  </a:lnTo>
                  <a:lnTo>
                    <a:pt x="89688" y="1452939"/>
                  </a:lnTo>
                  <a:lnTo>
                    <a:pt x="59301" y="1422563"/>
                  </a:lnTo>
                  <a:lnTo>
                    <a:pt x="34426" y="1387387"/>
                  </a:lnTo>
                  <a:lnTo>
                    <a:pt x="15775" y="1348124"/>
                  </a:lnTo>
                  <a:lnTo>
                    <a:pt x="4062" y="1305485"/>
                  </a:lnTo>
                  <a:lnTo>
                    <a:pt x="0" y="1260182"/>
                  </a:lnTo>
                  <a:lnTo>
                    <a:pt x="0" y="252095"/>
                  </a:lnTo>
                  <a:close/>
                </a:path>
              </a:pathLst>
            </a:custGeom>
            <a:ln w="381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27231" y="4435778"/>
            <a:ext cx="2295965" cy="1119241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137" marR="4689" algn="ctr">
              <a:spcBef>
                <a:spcPts val="88"/>
              </a:spcBef>
            </a:pP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Документ, подтверждающий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предоставление</a:t>
            </a:r>
            <a:r>
              <a:rPr sz="1200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земельного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участка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аражному</a:t>
            </a:r>
            <a:r>
              <a:rPr sz="1200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кооперативу </a:t>
            </a:r>
            <a:r>
              <a:rPr sz="1200" spc="-3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либо иной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организации,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при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которой</a:t>
            </a:r>
            <a:r>
              <a:rPr sz="1200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был</a:t>
            </a:r>
            <a:r>
              <a:rPr sz="1200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организован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аражный кооператив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441949" y="4805172"/>
            <a:ext cx="2382715" cy="380578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698127" marR="4689" indent="-686989">
              <a:spcBef>
                <a:spcPts val="88"/>
              </a:spcBef>
            </a:pP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Иные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 документы,</a:t>
            </a:r>
            <a:r>
              <a:rPr sz="1200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установленные </a:t>
            </a:r>
            <a:r>
              <a:rPr sz="1200" spc="-3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субъектом</a:t>
            </a:r>
            <a:r>
              <a:rPr sz="1200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РФ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708521" y="2219295"/>
            <a:ext cx="6018042" cy="2142978"/>
          </a:xfrm>
          <a:custGeom>
            <a:avLst/>
            <a:gdLst/>
            <a:ahLst/>
            <a:cxnLst/>
            <a:rect l="l" t="t" r="r" b="b"/>
            <a:pathLst>
              <a:path w="6519545" h="2321560">
                <a:moveTo>
                  <a:pt x="132588" y="2148332"/>
                </a:moveTo>
                <a:lnTo>
                  <a:pt x="130302" y="2139569"/>
                </a:lnTo>
                <a:lnTo>
                  <a:pt x="116713" y="2131568"/>
                </a:lnTo>
                <a:lnTo>
                  <a:pt x="107950" y="2133981"/>
                </a:lnTo>
                <a:lnTo>
                  <a:pt x="80645" y="2180755"/>
                </a:lnTo>
                <a:lnTo>
                  <a:pt x="80645" y="1926336"/>
                </a:lnTo>
                <a:lnTo>
                  <a:pt x="52070" y="1926336"/>
                </a:lnTo>
                <a:lnTo>
                  <a:pt x="52070" y="2180856"/>
                </a:lnTo>
                <a:lnTo>
                  <a:pt x="52070" y="2233676"/>
                </a:lnTo>
                <a:lnTo>
                  <a:pt x="52006" y="2180755"/>
                </a:lnTo>
                <a:lnTo>
                  <a:pt x="28702" y="2140712"/>
                </a:lnTo>
                <a:lnTo>
                  <a:pt x="24638" y="2133981"/>
                </a:lnTo>
                <a:lnTo>
                  <a:pt x="15875" y="2131568"/>
                </a:lnTo>
                <a:lnTo>
                  <a:pt x="9144" y="2135632"/>
                </a:lnTo>
                <a:lnTo>
                  <a:pt x="2286" y="2139569"/>
                </a:lnTo>
                <a:lnTo>
                  <a:pt x="0" y="2148332"/>
                </a:lnTo>
                <a:lnTo>
                  <a:pt x="3937" y="2155190"/>
                </a:lnTo>
                <a:lnTo>
                  <a:pt x="66294" y="2261997"/>
                </a:lnTo>
                <a:lnTo>
                  <a:pt x="82816" y="2233676"/>
                </a:lnTo>
                <a:lnTo>
                  <a:pt x="128651" y="2155190"/>
                </a:lnTo>
                <a:lnTo>
                  <a:pt x="132588" y="2148332"/>
                </a:lnTo>
                <a:close/>
              </a:path>
              <a:path w="6519545" h="2321560">
                <a:moveTo>
                  <a:pt x="132588" y="279400"/>
                </a:moveTo>
                <a:lnTo>
                  <a:pt x="130302" y="270637"/>
                </a:lnTo>
                <a:lnTo>
                  <a:pt x="116713" y="262636"/>
                </a:lnTo>
                <a:lnTo>
                  <a:pt x="107950" y="265049"/>
                </a:lnTo>
                <a:lnTo>
                  <a:pt x="80645" y="311823"/>
                </a:lnTo>
                <a:lnTo>
                  <a:pt x="80645" y="0"/>
                </a:lnTo>
                <a:lnTo>
                  <a:pt x="52070" y="0"/>
                </a:lnTo>
                <a:lnTo>
                  <a:pt x="52070" y="311924"/>
                </a:lnTo>
                <a:lnTo>
                  <a:pt x="52070" y="364744"/>
                </a:lnTo>
                <a:lnTo>
                  <a:pt x="52006" y="311823"/>
                </a:lnTo>
                <a:lnTo>
                  <a:pt x="28702" y="271780"/>
                </a:lnTo>
                <a:lnTo>
                  <a:pt x="24638" y="265049"/>
                </a:lnTo>
                <a:lnTo>
                  <a:pt x="15875" y="262636"/>
                </a:lnTo>
                <a:lnTo>
                  <a:pt x="9144" y="266700"/>
                </a:lnTo>
                <a:lnTo>
                  <a:pt x="2286" y="270637"/>
                </a:lnTo>
                <a:lnTo>
                  <a:pt x="0" y="279400"/>
                </a:lnTo>
                <a:lnTo>
                  <a:pt x="3937" y="286258"/>
                </a:lnTo>
                <a:lnTo>
                  <a:pt x="66294" y="393065"/>
                </a:lnTo>
                <a:lnTo>
                  <a:pt x="82816" y="364744"/>
                </a:lnTo>
                <a:lnTo>
                  <a:pt x="128651" y="286258"/>
                </a:lnTo>
                <a:lnTo>
                  <a:pt x="132588" y="279400"/>
                </a:lnTo>
                <a:close/>
              </a:path>
              <a:path w="6519545" h="2321560">
                <a:moveTo>
                  <a:pt x="3180207" y="284988"/>
                </a:moveTo>
                <a:lnTo>
                  <a:pt x="3177921" y="276352"/>
                </a:lnTo>
                <a:lnTo>
                  <a:pt x="3171190" y="272288"/>
                </a:lnTo>
                <a:lnTo>
                  <a:pt x="3164332" y="268351"/>
                </a:lnTo>
                <a:lnTo>
                  <a:pt x="3155569" y="270637"/>
                </a:lnTo>
                <a:lnTo>
                  <a:pt x="3151632" y="277495"/>
                </a:lnTo>
                <a:lnTo>
                  <a:pt x="3128264" y="317538"/>
                </a:lnTo>
                <a:lnTo>
                  <a:pt x="3128264" y="5588"/>
                </a:lnTo>
                <a:lnTo>
                  <a:pt x="3099689" y="5588"/>
                </a:lnTo>
                <a:lnTo>
                  <a:pt x="3099689" y="317639"/>
                </a:lnTo>
                <a:lnTo>
                  <a:pt x="3099689" y="370332"/>
                </a:lnTo>
                <a:lnTo>
                  <a:pt x="3099625" y="317538"/>
                </a:lnTo>
                <a:lnTo>
                  <a:pt x="3076321" y="277495"/>
                </a:lnTo>
                <a:lnTo>
                  <a:pt x="3072257" y="270637"/>
                </a:lnTo>
                <a:lnTo>
                  <a:pt x="3063494" y="268351"/>
                </a:lnTo>
                <a:lnTo>
                  <a:pt x="3049905" y="276352"/>
                </a:lnTo>
                <a:lnTo>
                  <a:pt x="3047619" y="284988"/>
                </a:lnTo>
                <a:lnTo>
                  <a:pt x="3051556" y="291846"/>
                </a:lnTo>
                <a:lnTo>
                  <a:pt x="3113913" y="398780"/>
                </a:lnTo>
                <a:lnTo>
                  <a:pt x="3130499" y="370332"/>
                </a:lnTo>
                <a:lnTo>
                  <a:pt x="3176270" y="291846"/>
                </a:lnTo>
                <a:lnTo>
                  <a:pt x="3180207" y="284988"/>
                </a:lnTo>
                <a:close/>
              </a:path>
              <a:path w="6519545" h="2321560">
                <a:moveTo>
                  <a:pt x="3184779" y="2183003"/>
                </a:moveTo>
                <a:lnTo>
                  <a:pt x="3182493" y="2174240"/>
                </a:lnTo>
                <a:lnTo>
                  <a:pt x="3175635" y="2170176"/>
                </a:lnTo>
                <a:lnTo>
                  <a:pt x="3168777" y="2166239"/>
                </a:lnTo>
                <a:lnTo>
                  <a:pt x="3160141" y="2168525"/>
                </a:lnTo>
                <a:lnTo>
                  <a:pt x="3156077" y="2175383"/>
                </a:lnTo>
                <a:lnTo>
                  <a:pt x="3132709" y="2215426"/>
                </a:lnTo>
                <a:lnTo>
                  <a:pt x="3118408" y="2239899"/>
                </a:lnTo>
                <a:lnTo>
                  <a:pt x="3132696" y="2215426"/>
                </a:lnTo>
                <a:lnTo>
                  <a:pt x="3132709" y="1926336"/>
                </a:lnTo>
                <a:lnTo>
                  <a:pt x="3104134" y="1926336"/>
                </a:lnTo>
                <a:lnTo>
                  <a:pt x="3104134" y="2215426"/>
                </a:lnTo>
                <a:lnTo>
                  <a:pt x="3080766" y="2175383"/>
                </a:lnTo>
                <a:lnTo>
                  <a:pt x="3076829" y="2168525"/>
                </a:lnTo>
                <a:lnTo>
                  <a:pt x="3068066" y="2166239"/>
                </a:lnTo>
                <a:lnTo>
                  <a:pt x="3061208" y="2170176"/>
                </a:lnTo>
                <a:lnTo>
                  <a:pt x="3054477" y="2174240"/>
                </a:lnTo>
                <a:lnTo>
                  <a:pt x="3052064" y="2183003"/>
                </a:lnTo>
                <a:lnTo>
                  <a:pt x="3056128" y="2189734"/>
                </a:lnTo>
                <a:lnTo>
                  <a:pt x="3118485" y="2296668"/>
                </a:lnTo>
                <a:lnTo>
                  <a:pt x="3134995" y="2268347"/>
                </a:lnTo>
                <a:lnTo>
                  <a:pt x="3184779" y="2183003"/>
                </a:lnTo>
                <a:close/>
              </a:path>
              <a:path w="6519545" h="2321560">
                <a:moveTo>
                  <a:pt x="6515100" y="2207641"/>
                </a:moveTo>
                <a:lnTo>
                  <a:pt x="6512687" y="2199005"/>
                </a:lnTo>
                <a:lnTo>
                  <a:pt x="6505956" y="2194941"/>
                </a:lnTo>
                <a:lnTo>
                  <a:pt x="6499098" y="2191004"/>
                </a:lnTo>
                <a:lnTo>
                  <a:pt x="6490335" y="2193290"/>
                </a:lnTo>
                <a:lnTo>
                  <a:pt x="6486398" y="2200148"/>
                </a:lnTo>
                <a:lnTo>
                  <a:pt x="6463030" y="2240191"/>
                </a:lnTo>
                <a:lnTo>
                  <a:pt x="6463030" y="1926336"/>
                </a:lnTo>
                <a:lnTo>
                  <a:pt x="6434455" y="1926336"/>
                </a:lnTo>
                <a:lnTo>
                  <a:pt x="6434455" y="2240191"/>
                </a:lnTo>
                <a:lnTo>
                  <a:pt x="6411087" y="2200148"/>
                </a:lnTo>
                <a:lnTo>
                  <a:pt x="6407023" y="2193290"/>
                </a:lnTo>
                <a:lnTo>
                  <a:pt x="6398387" y="2191004"/>
                </a:lnTo>
                <a:lnTo>
                  <a:pt x="6391529" y="2194941"/>
                </a:lnTo>
                <a:lnTo>
                  <a:pt x="6384671" y="2199005"/>
                </a:lnTo>
                <a:lnTo>
                  <a:pt x="6382385" y="2207641"/>
                </a:lnTo>
                <a:lnTo>
                  <a:pt x="6386322" y="2214499"/>
                </a:lnTo>
                <a:lnTo>
                  <a:pt x="6448679" y="2321433"/>
                </a:lnTo>
                <a:lnTo>
                  <a:pt x="6465265" y="2292985"/>
                </a:lnTo>
                <a:lnTo>
                  <a:pt x="6511036" y="2214499"/>
                </a:lnTo>
                <a:lnTo>
                  <a:pt x="6515100" y="2207641"/>
                </a:lnTo>
                <a:close/>
              </a:path>
              <a:path w="6519545" h="2321560">
                <a:moveTo>
                  <a:pt x="6519037" y="279400"/>
                </a:moveTo>
                <a:lnTo>
                  <a:pt x="6516751" y="270637"/>
                </a:lnTo>
                <a:lnTo>
                  <a:pt x="6509893" y="266700"/>
                </a:lnTo>
                <a:lnTo>
                  <a:pt x="6503162" y="262636"/>
                </a:lnTo>
                <a:lnTo>
                  <a:pt x="6494399" y="264922"/>
                </a:lnTo>
                <a:lnTo>
                  <a:pt x="6490335" y="271780"/>
                </a:lnTo>
                <a:lnTo>
                  <a:pt x="6467018" y="311823"/>
                </a:lnTo>
                <a:lnTo>
                  <a:pt x="6466967" y="357505"/>
                </a:lnTo>
                <a:lnTo>
                  <a:pt x="6466967" y="311924"/>
                </a:lnTo>
                <a:lnTo>
                  <a:pt x="6466967" y="0"/>
                </a:lnTo>
                <a:lnTo>
                  <a:pt x="6438392" y="0"/>
                </a:lnTo>
                <a:lnTo>
                  <a:pt x="6438430" y="311912"/>
                </a:lnTo>
                <a:lnTo>
                  <a:pt x="6415024" y="271780"/>
                </a:lnTo>
                <a:lnTo>
                  <a:pt x="6411087" y="264922"/>
                </a:lnTo>
                <a:lnTo>
                  <a:pt x="6402324" y="262636"/>
                </a:lnTo>
                <a:lnTo>
                  <a:pt x="6388735" y="270637"/>
                </a:lnTo>
                <a:lnTo>
                  <a:pt x="6386449" y="279400"/>
                </a:lnTo>
                <a:lnTo>
                  <a:pt x="6390386" y="286258"/>
                </a:lnTo>
                <a:lnTo>
                  <a:pt x="6452743" y="393065"/>
                </a:lnTo>
                <a:lnTo>
                  <a:pt x="6469266" y="364744"/>
                </a:lnTo>
                <a:lnTo>
                  <a:pt x="6515100" y="286258"/>
                </a:lnTo>
                <a:lnTo>
                  <a:pt x="6519037" y="279400"/>
                </a:lnTo>
                <a:close/>
              </a:path>
            </a:pathLst>
          </a:custGeom>
          <a:solidFill>
            <a:srgbClr val="0E7697"/>
          </a:solidFill>
        </p:spPr>
        <p:txBody>
          <a:bodyPr wrap="square" lIns="0" tIns="0" rIns="0" bIns="0" rtlCol="0"/>
          <a:lstStyle/>
          <a:p>
            <a:endParaRPr sz="1662"/>
          </a:p>
        </p:txBody>
      </p:sp>
      <p:sp>
        <p:nvSpPr>
          <p:cNvPr id="36" name="object 36"/>
          <p:cNvSpPr txBox="1"/>
          <p:nvPr/>
        </p:nvSpPr>
        <p:spPr>
          <a:xfrm>
            <a:off x="3499338" y="4372238"/>
            <a:ext cx="2334065" cy="1303907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723" marR="4689" indent="-1172" algn="ctr">
              <a:spcBef>
                <a:spcPts val="88"/>
              </a:spcBef>
            </a:pP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Документ, подтверждающий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проведение</a:t>
            </a:r>
            <a:r>
              <a:rPr sz="1200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осударственного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технического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учета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и (или) 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технической</a:t>
            </a:r>
            <a:r>
              <a:rPr sz="120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инвентаризации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аража</a:t>
            </a:r>
            <a:r>
              <a:rPr sz="1200" spc="-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до</a:t>
            </a:r>
            <a:r>
              <a:rPr sz="1200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1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 января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2013</a:t>
            </a:r>
            <a:r>
              <a:rPr sz="1200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ода,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 подтверждающий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строительство </a:t>
            </a:r>
            <a:r>
              <a:rPr sz="1200" spc="-3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гаража</a:t>
            </a:r>
            <a:r>
              <a:rPr sz="1200" spc="-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9" dirty="0">
                <a:solidFill>
                  <a:srgbClr val="174260"/>
                </a:solidFill>
                <a:latin typeface="Trebuchet MS"/>
                <a:cs typeface="Trebuchet MS"/>
              </a:rPr>
              <a:t>до</a:t>
            </a:r>
            <a:r>
              <a:rPr sz="1200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200" spc="-5" dirty="0">
                <a:solidFill>
                  <a:srgbClr val="174260"/>
                </a:solidFill>
                <a:latin typeface="Trebuchet MS"/>
                <a:cs typeface="Trebuchet MS"/>
              </a:rPr>
              <a:t>30.12.2004</a:t>
            </a:r>
            <a:endParaRPr sz="1200">
              <a:latin typeface="Trebuchet MS"/>
              <a:cs typeface="Trebuchet MS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824367" y="5843016"/>
            <a:ext cx="7823395" cy="540434"/>
            <a:chOff x="893063" y="6044184"/>
            <a:chExt cx="8475345" cy="585470"/>
          </a:xfrm>
        </p:grpSpPr>
        <p:pic>
          <p:nvPicPr>
            <p:cNvPr id="38" name="object 3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93063" y="6044184"/>
              <a:ext cx="8474964" cy="341375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305299" y="6288024"/>
              <a:ext cx="1589531" cy="341375"/>
            </a:xfrm>
            <a:prstGeom prst="rect">
              <a:avLst/>
            </a:prstGeom>
          </p:spPr>
        </p:pic>
      </p:grpSp>
      <p:sp>
        <p:nvSpPr>
          <p:cNvPr id="40" name="object 40"/>
          <p:cNvSpPr txBox="1"/>
          <p:nvPr/>
        </p:nvSpPr>
        <p:spPr>
          <a:xfrm>
            <a:off x="931938" y="5888689"/>
            <a:ext cx="7527974" cy="465857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3161793" marR="4689" indent="-3150656">
              <a:spcBef>
                <a:spcPts val="88"/>
              </a:spcBef>
            </a:pP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Документы</a:t>
            </a:r>
            <a:r>
              <a:rPr sz="1477" b="1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о</a:t>
            </a:r>
            <a:r>
              <a:rPr sz="1477" b="1" spc="14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наследстве</a:t>
            </a:r>
            <a:r>
              <a:rPr sz="1477" b="1" spc="9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и</a:t>
            </a:r>
            <a:r>
              <a:rPr sz="1477" b="1" spc="14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документы,</a:t>
            </a:r>
            <a:r>
              <a:rPr sz="1477" b="1" spc="14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подтверждающие</a:t>
            </a:r>
            <a:r>
              <a:rPr sz="1477" b="1" spc="3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приобретение</a:t>
            </a:r>
            <a:r>
              <a:rPr sz="1477" b="1" spc="28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C00000"/>
                </a:solidFill>
                <a:latin typeface="Trebuchet MS"/>
                <a:cs typeface="Trebuchet MS"/>
              </a:rPr>
              <a:t>гаража</a:t>
            </a:r>
            <a:r>
              <a:rPr sz="1477" b="1" spc="9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у </a:t>
            </a:r>
            <a:r>
              <a:rPr sz="1477" b="1" spc="-429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C00000"/>
                </a:solidFill>
                <a:latin typeface="Trebuchet MS"/>
                <a:cs typeface="Trebuchet MS"/>
              </a:rPr>
              <a:t>другого</a:t>
            </a:r>
            <a:r>
              <a:rPr sz="1477" b="1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C00000"/>
                </a:solidFill>
                <a:latin typeface="Trebuchet MS"/>
                <a:cs typeface="Trebuchet MS"/>
              </a:rPr>
              <a:t>лица</a:t>
            </a:r>
            <a:endParaRPr sz="1477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77445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63770"/>
            <a:ext cx="9148689" cy="6339254"/>
            <a:chOff x="0" y="0"/>
            <a:chExt cx="9911080" cy="686752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905999" cy="6857996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629412" y="243840"/>
              <a:ext cx="1106805" cy="262255"/>
            </a:xfrm>
            <a:custGeom>
              <a:avLst/>
              <a:gdLst/>
              <a:ahLst/>
              <a:cxnLst/>
              <a:rect l="l" t="t" r="r" b="b"/>
              <a:pathLst>
                <a:path w="1106805" h="262255">
                  <a:moveTo>
                    <a:pt x="975360" y="0"/>
                  </a:moveTo>
                  <a:lnTo>
                    <a:pt x="131064" y="0"/>
                  </a:lnTo>
                  <a:lnTo>
                    <a:pt x="80045" y="10298"/>
                  </a:lnTo>
                  <a:lnTo>
                    <a:pt x="38385" y="38385"/>
                  </a:lnTo>
                  <a:lnTo>
                    <a:pt x="10298" y="80045"/>
                  </a:lnTo>
                  <a:lnTo>
                    <a:pt x="0" y="131063"/>
                  </a:lnTo>
                  <a:lnTo>
                    <a:pt x="10298" y="182082"/>
                  </a:lnTo>
                  <a:lnTo>
                    <a:pt x="38385" y="223742"/>
                  </a:lnTo>
                  <a:lnTo>
                    <a:pt x="80045" y="251829"/>
                  </a:lnTo>
                  <a:lnTo>
                    <a:pt x="131064" y="262127"/>
                  </a:lnTo>
                  <a:lnTo>
                    <a:pt x="975360" y="262127"/>
                  </a:lnTo>
                  <a:lnTo>
                    <a:pt x="1026378" y="251829"/>
                  </a:lnTo>
                  <a:lnTo>
                    <a:pt x="1068038" y="223742"/>
                  </a:lnTo>
                  <a:lnTo>
                    <a:pt x="1096125" y="182082"/>
                  </a:lnTo>
                  <a:lnTo>
                    <a:pt x="1106424" y="131063"/>
                  </a:lnTo>
                  <a:lnTo>
                    <a:pt x="1096125" y="80045"/>
                  </a:lnTo>
                  <a:lnTo>
                    <a:pt x="1068038" y="38385"/>
                  </a:lnTo>
                  <a:lnTo>
                    <a:pt x="1026378" y="10298"/>
                  </a:lnTo>
                  <a:lnTo>
                    <a:pt x="9753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8784218" y="6088451"/>
            <a:ext cx="110197" cy="210674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292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292">
              <a:latin typeface="Trebuchet MS"/>
              <a:cs typeface="Trebuchet MS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1518" y="488887"/>
            <a:ext cx="2369234" cy="973566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102719" y="2144738"/>
            <a:ext cx="3318803" cy="2143190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 marR="4689" indent="-586" algn="ctr">
              <a:spcBef>
                <a:spcPts val="92"/>
              </a:spcBef>
            </a:pP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Гражданину необходимо обратиться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в </a:t>
            </a:r>
            <a:r>
              <a:rPr sz="1385" spc="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соответствующий орган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государственной</a:t>
            </a:r>
            <a:r>
              <a:rPr sz="1385" spc="-14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власти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или</a:t>
            </a:r>
            <a:r>
              <a:rPr sz="1385" spc="14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орган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местного самоуправления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с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заявлением </a:t>
            </a:r>
            <a:r>
              <a:rPr sz="1385" spc="-406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о</a:t>
            </a:r>
            <a:r>
              <a:rPr sz="1385" spc="46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предоставлении</a:t>
            </a:r>
            <a:r>
              <a:rPr sz="1385" spc="111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(а</a:t>
            </a:r>
            <a:r>
              <a:rPr sz="1385" spc="60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при </a:t>
            </a:r>
            <a:r>
              <a:rPr sz="1385" spc="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необходимости</a:t>
            </a:r>
            <a:r>
              <a:rPr sz="1385" spc="-23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и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образовании)</a:t>
            </a:r>
            <a:endParaRPr sz="1385">
              <a:latin typeface="Trebuchet MS"/>
              <a:cs typeface="Trebuchet MS"/>
            </a:endParaRPr>
          </a:p>
          <a:p>
            <a:pPr marL="83236" marR="77374" indent="-1172" algn="ctr"/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участка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под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существующим гаражом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с </a:t>
            </a:r>
            <a:r>
              <a:rPr sz="1385" spc="-406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приложением</a:t>
            </a:r>
            <a:r>
              <a:rPr sz="1385" spc="23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любого</a:t>
            </a:r>
            <a:r>
              <a:rPr sz="1385" spc="-14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документа,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который подтверждает факт владения </a:t>
            </a:r>
            <a:r>
              <a:rPr sz="1385" spc="-406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гаражом.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435257" y="4908217"/>
            <a:ext cx="6386146" cy="920469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723" marR="4689" algn="ctr">
              <a:spcBef>
                <a:spcPts val="88"/>
              </a:spcBef>
            </a:pP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Уполномоченный</a:t>
            </a:r>
            <a:r>
              <a:rPr sz="1477" b="1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орган</a:t>
            </a:r>
            <a:r>
              <a:rPr sz="1477" b="1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b="1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случае</a:t>
            </a:r>
            <a:r>
              <a:rPr sz="1477" b="1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174260"/>
                </a:solidFill>
                <a:latin typeface="Trebuchet MS"/>
                <a:cs typeface="Trebuchet MS"/>
              </a:rPr>
              <a:t>принятия</a:t>
            </a:r>
            <a:r>
              <a:rPr sz="1477" b="1" spc="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положительного</a:t>
            </a:r>
            <a:r>
              <a:rPr sz="1477" b="1" spc="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174260"/>
                </a:solidFill>
                <a:latin typeface="Trebuchet MS"/>
                <a:cs typeface="Trebuchet MS"/>
              </a:rPr>
              <a:t>решения </a:t>
            </a:r>
            <a:r>
              <a:rPr sz="1477" b="1" spc="-42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i="1" spc="-9" dirty="0">
                <a:solidFill>
                  <a:srgbClr val="174260"/>
                </a:solidFill>
                <a:latin typeface="Trebuchet MS"/>
                <a:cs typeface="Trebuchet MS"/>
              </a:rPr>
              <a:t>самостоятельно</a:t>
            </a:r>
            <a:r>
              <a:rPr sz="1477" b="1" i="1" spc="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направляет</a:t>
            </a:r>
            <a:r>
              <a:rPr sz="1477" b="1" spc="4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b="1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Росреестр</a:t>
            </a:r>
            <a:r>
              <a:rPr sz="1477" b="1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необходимые</a:t>
            </a:r>
            <a:r>
              <a:rPr sz="1477" b="1" spc="3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документы. </a:t>
            </a:r>
            <a:r>
              <a:rPr sz="1477" b="1" spc="-42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При этом</a:t>
            </a:r>
            <a:r>
              <a:rPr sz="1477" b="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одновременно</a:t>
            </a:r>
            <a:r>
              <a:rPr sz="1477" b="1" spc="3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регистрируются</a:t>
            </a:r>
            <a:r>
              <a:rPr sz="1477" b="1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174260"/>
                </a:solidFill>
                <a:latin typeface="Trebuchet MS"/>
                <a:cs typeface="Trebuchet MS"/>
              </a:rPr>
              <a:t>права</a:t>
            </a:r>
            <a:r>
              <a:rPr sz="1477" b="1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гражданина</a:t>
            </a:r>
            <a:r>
              <a:rPr sz="1477" b="1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как</a:t>
            </a:r>
            <a:r>
              <a:rPr sz="1477" b="1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на </a:t>
            </a:r>
            <a:r>
              <a:rPr sz="1477" b="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9" dirty="0">
                <a:solidFill>
                  <a:srgbClr val="174260"/>
                </a:solidFill>
                <a:latin typeface="Trebuchet MS"/>
                <a:cs typeface="Trebuchet MS"/>
              </a:rPr>
              <a:t>гараж,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 так</a:t>
            </a:r>
            <a:r>
              <a:rPr sz="1477" b="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и</a:t>
            </a:r>
            <a:r>
              <a:rPr sz="1477" b="1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на</a:t>
            </a:r>
            <a:r>
              <a:rPr sz="1477" b="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земельный</a:t>
            </a:r>
            <a:r>
              <a:rPr sz="1477" b="1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участок,</a:t>
            </a:r>
            <a:r>
              <a:rPr sz="1477" b="1" spc="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на котором</a:t>
            </a:r>
            <a:r>
              <a:rPr sz="1477" b="1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b="1" spc="-5" dirty="0">
                <a:solidFill>
                  <a:srgbClr val="174260"/>
                </a:solidFill>
                <a:latin typeface="Trebuchet MS"/>
                <a:cs typeface="Trebuchet MS"/>
              </a:rPr>
              <a:t>он расположен.</a:t>
            </a:r>
            <a:endParaRPr sz="1477">
              <a:latin typeface="Trebuchet MS"/>
              <a:cs typeface="Trebuchet MS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2586931" y="4389823"/>
            <a:ext cx="263183" cy="402688"/>
            <a:chOff x="2802508" y="4469891"/>
            <a:chExt cx="285115" cy="436245"/>
          </a:xfrm>
        </p:grpSpPr>
        <p:sp>
          <p:nvSpPr>
            <p:cNvPr id="10" name="object 10"/>
            <p:cNvSpPr/>
            <p:nvPr/>
          </p:nvSpPr>
          <p:spPr>
            <a:xfrm>
              <a:off x="2808858" y="4476241"/>
              <a:ext cx="272415" cy="423545"/>
            </a:xfrm>
            <a:custGeom>
              <a:avLst/>
              <a:gdLst/>
              <a:ahLst/>
              <a:cxnLst/>
              <a:rect l="l" t="t" r="r" b="b"/>
              <a:pathLst>
                <a:path w="272414" h="423545">
                  <a:moveTo>
                    <a:pt x="203962" y="0"/>
                  </a:moveTo>
                  <a:lnTo>
                    <a:pt x="67945" y="0"/>
                  </a:lnTo>
                  <a:lnTo>
                    <a:pt x="67945" y="287273"/>
                  </a:lnTo>
                  <a:lnTo>
                    <a:pt x="0" y="287273"/>
                  </a:lnTo>
                  <a:lnTo>
                    <a:pt x="135890" y="423163"/>
                  </a:lnTo>
                  <a:lnTo>
                    <a:pt x="271907" y="287273"/>
                  </a:lnTo>
                  <a:lnTo>
                    <a:pt x="203962" y="287273"/>
                  </a:lnTo>
                  <a:lnTo>
                    <a:pt x="203962" y="0"/>
                  </a:lnTo>
                  <a:close/>
                </a:path>
              </a:pathLst>
            </a:custGeom>
            <a:solidFill>
              <a:srgbClr val="5FCAEE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11" name="object 11"/>
            <p:cNvSpPr/>
            <p:nvPr/>
          </p:nvSpPr>
          <p:spPr>
            <a:xfrm>
              <a:off x="2808858" y="4476241"/>
              <a:ext cx="272415" cy="423545"/>
            </a:xfrm>
            <a:custGeom>
              <a:avLst/>
              <a:gdLst/>
              <a:ahLst/>
              <a:cxnLst/>
              <a:rect l="l" t="t" r="r" b="b"/>
              <a:pathLst>
                <a:path w="272414" h="423545">
                  <a:moveTo>
                    <a:pt x="203962" y="0"/>
                  </a:moveTo>
                  <a:lnTo>
                    <a:pt x="203962" y="287273"/>
                  </a:lnTo>
                  <a:lnTo>
                    <a:pt x="271907" y="287273"/>
                  </a:lnTo>
                  <a:lnTo>
                    <a:pt x="135890" y="423163"/>
                  </a:lnTo>
                  <a:lnTo>
                    <a:pt x="0" y="287273"/>
                  </a:lnTo>
                  <a:lnTo>
                    <a:pt x="67945" y="287273"/>
                  </a:lnTo>
                  <a:lnTo>
                    <a:pt x="67945" y="0"/>
                  </a:lnTo>
                  <a:lnTo>
                    <a:pt x="203962" y="0"/>
                  </a:lnTo>
                  <a:close/>
                </a:path>
              </a:pathLst>
            </a:custGeom>
            <a:ln w="12700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5284997" y="2376503"/>
            <a:ext cx="2555631" cy="1503784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 marR="4689" indent="-586" algn="ctr">
              <a:spcBef>
                <a:spcPts val="92"/>
              </a:spcBef>
            </a:pP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К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заявлению гражданина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о </a:t>
            </a:r>
            <a:r>
              <a:rPr sz="1385" spc="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предоставлении</a:t>
            </a:r>
            <a:r>
              <a:rPr sz="1385" spc="9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земельного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участка,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на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котором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9" dirty="0">
                <a:solidFill>
                  <a:srgbClr val="0E7697"/>
                </a:solidFill>
                <a:latin typeface="Trebuchet MS"/>
                <a:cs typeface="Trebuchet MS"/>
              </a:rPr>
              <a:t>расположен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гараж,</a:t>
            </a:r>
            <a:r>
              <a:rPr sz="1385" spc="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наряду</a:t>
            </a:r>
            <a:r>
              <a:rPr sz="1385" spc="-14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с </a:t>
            </a:r>
            <a:r>
              <a:rPr sz="1385" spc="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установленными документами </a:t>
            </a:r>
            <a:r>
              <a:rPr sz="1385" spc="-406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прилагается</a:t>
            </a:r>
            <a:r>
              <a:rPr sz="138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технический план </a:t>
            </a:r>
            <a:r>
              <a:rPr sz="1385" spc="-406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указанного</a:t>
            </a:r>
            <a:r>
              <a:rPr sz="1385" spc="-28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гаража.</a:t>
            </a:r>
            <a:endParaRPr sz="1385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891316" y="4064930"/>
            <a:ext cx="1342878" cy="22497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+межевой</a:t>
            </a:r>
            <a:r>
              <a:rPr sz="1385" spc="-65" dirty="0">
                <a:solidFill>
                  <a:srgbClr val="0E7697"/>
                </a:solidFill>
                <a:latin typeface="Trebuchet MS"/>
                <a:cs typeface="Trebuchet MS"/>
              </a:rPr>
              <a:t> </a:t>
            </a:r>
            <a:r>
              <a:rPr sz="1385" spc="-5" dirty="0">
                <a:solidFill>
                  <a:srgbClr val="0E7697"/>
                </a:solidFill>
                <a:latin typeface="Trebuchet MS"/>
                <a:cs typeface="Trebuchet MS"/>
              </a:rPr>
              <a:t>план,</a:t>
            </a:r>
            <a:endParaRPr sz="1385">
              <a:latin typeface="Trebuchet MS"/>
              <a:cs typeface="Trebuchet MS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1262223" y="1257773"/>
            <a:ext cx="6578405" cy="568569"/>
            <a:chOff x="1568577" y="1085088"/>
            <a:chExt cx="7126605" cy="615950"/>
          </a:xfrm>
        </p:grpSpPr>
        <p:pic>
          <p:nvPicPr>
            <p:cNvPr id="15" name="object 1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68577" y="1122172"/>
              <a:ext cx="7126351" cy="578612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677924" y="1085088"/>
              <a:ext cx="5228844" cy="499872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498336" y="1085088"/>
              <a:ext cx="2002536" cy="499872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92440" y="1085088"/>
              <a:ext cx="519683" cy="499872"/>
            </a:xfrm>
            <a:prstGeom prst="rect">
              <a:avLst/>
            </a:prstGeom>
          </p:spPr>
        </p:pic>
      </p:grp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1602662" y="1311461"/>
            <a:ext cx="6159187" cy="411947"/>
          </a:xfrm>
          <a:prstGeom prst="rect">
            <a:avLst/>
          </a:prstGeom>
        </p:spPr>
        <p:txBody>
          <a:bodyPr vert="horz" wrap="square" lIns="0" tIns="11723" rIns="0" bIns="0" rtlCol="0" anchor="ctr">
            <a:spAutoFit/>
          </a:bodyPr>
          <a:lstStyle/>
          <a:p>
            <a:pPr marL="11723">
              <a:lnSpc>
                <a:spcPct val="100000"/>
              </a:lnSpc>
              <a:spcBef>
                <a:spcPts val="92"/>
              </a:spcBef>
            </a:pPr>
            <a:r>
              <a:rPr sz="2600" b="1" spc="-5" dirty="0">
                <a:solidFill>
                  <a:srgbClr val="FFFFFF"/>
                </a:solidFill>
              </a:rPr>
              <a:t>Как воспользоваться</a:t>
            </a:r>
            <a:r>
              <a:rPr sz="2600" b="1" spc="5" dirty="0">
                <a:solidFill>
                  <a:srgbClr val="FFFFFF"/>
                </a:solidFill>
              </a:rPr>
              <a:t> </a:t>
            </a:r>
            <a:r>
              <a:rPr sz="2600" b="1" spc="-5" dirty="0">
                <a:solidFill>
                  <a:srgbClr val="FFFFFF"/>
                </a:solidFill>
              </a:rPr>
              <a:t>"гаражной</a:t>
            </a:r>
            <a:r>
              <a:rPr sz="2600" b="1" spc="18" dirty="0">
                <a:solidFill>
                  <a:srgbClr val="FFFFFF"/>
                </a:solidFill>
              </a:rPr>
              <a:t> </a:t>
            </a:r>
            <a:r>
              <a:rPr sz="2600" b="1" spc="-5" dirty="0">
                <a:solidFill>
                  <a:srgbClr val="FFFFFF"/>
                </a:solidFill>
              </a:rPr>
              <a:t>амнистией"</a:t>
            </a:r>
            <a:endParaRPr sz="2600" b="1" dirty="0"/>
          </a:p>
        </p:txBody>
      </p:sp>
      <p:grpSp>
        <p:nvGrpSpPr>
          <p:cNvPr id="20" name="object 20"/>
          <p:cNvGrpSpPr/>
          <p:nvPr/>
        </p:nvGrpSpPr>
        <p:grpSpPr>
          <a:xfrm>
            <a:off x="965090" y="2015548"/>
            <a:ext cx="7078980" cy="2817055"/>
            <a:chOff x="1045514" y="1897760"/>
            <a:chExt cx="7668895" cy="3051810"/>
          </a:xfrm>
        </p:grpSpPr>
        <p:sp>
          <p:nvSpPr>
            <p:cNvPr id="21" name="object 21"/>
            <p:cNvSpPr/>
            <p:nvPr/>
          </p:nvSpPr>
          <p:spPr>
            <a:xfrm>
              <a:off x="6940041" y="4519675"/>
              <a:ext cx="272415" cy="423545"/>
            </a:xfrm>
            <a:custGeom>
              <a:avLst/>
              <a:gdLst/>
              <a:ahLst/>
              <a:cxnLst/>
              <a:rect l="l" t="t" r="r" b="b"/>
              <a:pathLst>
                <a:path w="272415" h="423545">
                  <a:moveTo>
                    <a:pt x="203961" y="0"/>
                  </a:moveTo>
                  <a:lnTo>
                    <a:pt x="67944" y="0"/>
                  </a:lnTo>
                  <a:lnTo>
                    <a:pt x="67944" y="287147"/>
                  </a:lnTo>
                  <a:lnTo>
                    <a:pt x="0" y="287147"/>
                  </a:lnTo>
                  <a:lnTo>
                    <a:pt x="136016" y="423163"/>
                  </a:lnTo>
                  <a:lnTo>
                    <a:pt x="271906" y="287147"/>
                  </a:lnTo>
                  <a:lnTo>
                    <a:pt x="203961" y="287147"/>
                  </a:lnTo>
                  <a:lnTo>
                    <a:pt x="203961" y="0"/>
                  </a:lnTo>
                  <a:close/>
                </a:path>
              </a:pathLst>
            </a:custGeom>
            <a:solidFill>
              <a:srgbClr val="5FCAEE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2" name="object 22"/>
            <p:cNvSpPr/>
            <p:nvPr/>
          </p:nvSpPr>
          <p:spPr>
            <a:xfrm>
              <a:off x="6940041" y="4519675"/>
              <a:ext cx="272415" cy="423545"/>
            </a:xfrm>
            <a:custGeom>
              <a:avLst/>
              <a:gdLst/>
              <a:ahLst/>
              <a:cxnLst/>
              <a:rect l="l" t="t" r="r" b="b"/>
              <a:pathLst>
                <a:path w="272415" h="423545">
                  <a:moveTo>
                    <a:pt x="203961" y="0"/>
                  </a:moveTo>
                  <a:lnTo>
                    <a:pt x="203961" y="287147"/>
                  </a:lnTo>
                  <a:lnTo>
                    <a:pt x="271906" y="287147"/>
                  </a:lnTo>
                  <a:lnTo>
                    <a:pt x="136016" y="423163"/>
                  </a:lnTo>
                  <a:lnTo>
                    <a:pt x="0" y="287147"/>
                  </a:lnTo>
                  <a:lnTo>
                    <a:pt x="67944" y="287147"/>
                  </a:lnTo>
                  <a:lnTo>
                    <a:pt x="67944" y="0"/>
                  </a:lnTo>
                  <a:lnTo>
                    <a:pt x="203961" y="0"/>
                  </a:lnTo>
                  <a:close/>
                </a:path>
              </a:pathLst>
            </a:custGeom>
            <a:ln w="12699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23" name="object 23"/>
            <p:cNvSpPr/>
            <p:nvPr/>
          </p:nvSpPr>
          <p:spPr>
            <a:xfrm>
              <a:off x="1064564" y="1916810"/>
              <a:ext cx="7630795" cy="2609215"/>
            </a:xfrm>
            <a:custGeom>
              <a:avLst/>
              <a:gdLst/>
              <a:ahLst/>
              <a:cxnLst/>
              <a:rect l="l" t="t" r="r" b="b"/>
              <a:pathLst>
                <a:path w="7630795" h="2609215">
                  <a:moveTo>
                    <a:pt x="0" y="426592"/>
                  </a:moveTo>
                  <a:lnTo>
                    <a:pt x="2503" y="380113"/>
                  </a:lnTo>
                  <a:lnTo>
                    <a:pt x="9839" y="335083"/>
                  </a:lnTo>
                  <a:lnTo>
                    <a:pt x="21747" y="291762"/>
                  </a:lnTo>
                  <a:lnTo>
                    <a:pt x="37968" y="250411"/>
                  </a:lnTo>
                  <a:lnTo>
                    <a:pt x="58241" y="211290"/>
                  </a:lnTo>
                  <a:lnTo>
                    <a:pt x="82305" y="174659"/>
                  </a:lnTo>
                  <a:lnTo>
                    <a:pt x="109900" y="140779"/>
                  </a:lnTo>
                  <a:lnTo>
                    <a:pt x="140766" y="109910"/>
                  </a:lnTo>
                  <a:lnTo>
                    <a:pt x="174643" y="82312"/>
                  </a:lnTo>
                  <a:lnTo>
                    <a:pt x="211269" y="58245"/>
                  </a:lnTo>
                  <a:lnTo>
                    <a:pt x="250386" y="37971"/>
                  </a:lnTo>
                  <a:lnTo>
                    <a:pt x="291731" y="21749"/>
                  </a:lnTo>
                  <a:lnTo>
                    <a:pt x="335046" y="9839"/>
                  </a:lnTo>
                  <a:lnTo>
                    <a:pt x="380070" y="2503"/>
                  </a:lnTo>
                  <a:lnTo>
                    <a:pt x="426542" y="0"/>
                  </a:lnTo>
                  <a:lnTo>
                    <a:pt x="3389833" y="0"/>
                  </a:lnTo>
                  <a:lnTo>
                    <a:pt x="3436312" y="2503"/>
                  </a:lnTo>
                  <a:lnTo>
                    <a:pt x="3481342" y="9839"/>
                  </a:lnTo>
                  <a:lnTo>
                    <a:pt x="3524663" y="21749"/>
                  </a:lnTo>
                  <a:lnTo>
                    <a:pt x="3566014" y="37971"/>
                  </a:lnTo>
                  <a:lnTo>
                    <a:pt x="3605135" y="58245"/>
                  </a:lnTo>
                  <a:lnTo>
                    <a:pt x="3641766" y="82312"/>
                  </a:lnTo>
                  <a:lnTo>
                    <a:pt x="3675646" y="109910"/>
                  </a:lnTo>
                  <a:lnTo>
                    <a:pt x="3706516" y="140779"/>
                  </a:lnTo>
                  <a:lnTo>
                    <a:pt x="3734113" y="174659"/>
                  </a:lnTo>
                  <a:lnTo>
                    <a:pt x="3758180" y="211290"/>
                  </a:lnTo>
                  <a:lnTo>
                    <a:pt x="3778454" y="250411"/>
                  </a:lnTo>
                  <a:lnTo>
                    <a:pt x="3794676" y="291762"/>
                  </a:lnTo>
                  <a:lnTo>
                    <a:pt x="3806586" y="335083"/>
                  </a:lnTo>
                  <a:lnTo>
                    <a:pt x="3813922" y="380113"/>
                  </a:lnTo>
                  <a:lnTo>
                    <a:pt x="3816426" y="426592"/>
                  </a:lnTo>
                  <a:lnTo>
                    <a:pt x="3816426" y="2132838"/>
                  </a:lnTo>
                  <a:lnTo>
                    <a:pt x="3813922" y="2179317"/>
                  </a:lnTo>
                  <a:lnTo>
                    <a:pt x="3806586" y="2224347"/>
                  </a:lnTo>
                  <a:lnTo>
                    <a:pt x="3794676" y="2267668"/>
                  </a:lnTo>
                  <a:lnTo>
                    <a:pt x="3778454" y="2309019"/>
                  </a:lnTo>
                  <a:lnTo>
                    <a:pt x="3758180" y="2348140"/>
                  </a:lnTo>
                  <a:lnTo>
                    <a:pt x="3734113" y="2384771"/>
                  </a:lnTo>
                  <a:lnTo>
                    <a:pt x="3706516" y="2418651"/>
                  </a:lnTo>
                  <a:lnTo>
                    <a:pt x="3675646" y="2449520"/>
                  </a:lnTo>
                  <a:lnTo>
                    <a:pt x="3641766" y="2477118"/>
                  </a:lnTo>
                  <a:lnTo>
                    <a:pt x="3605135" y="2501185"/>
                  </a:lnTo>
                  <a:lnTo>
                    <a:pt x="3566014" y="2521459"/>
                  </a:lnTo>
                  <a:lnTo>
                    <a:pt x="3524663" y="2537681"/>
                  </a:lnTo>
                  <a:lnTo>
                    <a:pt x="3481342" y="2549591"/>
                  </a:lnTo>
                  <a:lnTo>
                    <a:pt x="3436312" y="2556927"/>
                  </a:lnTo>
                  <a:lnTo>
                    <a:pt x="3389833" y="2559431"/>
                  </a:lnTo>
                  <a:lnTo>
                    <a:pt x="426542" y="2559431"/>
                  </a:lnTo>
                  <a:lnTo>
                    <a:pt x="380070" y="2556927"/>
                  </a:lnTo>
                  <a:lnTo>
                    <a:pt x="335046" y="2549591"/>
                  </a:lnTo>
                  <a:lnTo>
                    <a:pt x="291731" y="2537681"/>
                  </a:lnTo>
                  <a:lnTo>
                    <a:pt x="250386" y="2521459"/>
                  </a:lnTo>
                  <a:lnTo>
                    <a:pt x="211269" y="2501185"/>
                  </a:lnTo>
                  <a:lnTo>
                    <a:pt x="174643" y="2477118"/>
                  </a:lnTo>
                  <a:lnTo>
                    <a:pt x="140766" y="2449520"/>
                  </a:lnTo>
                  <a:lnTo>
                    <a:pt x="109900" y="2418651"/>
                  </a:lnTo>
                  <a:lnTo>
                    <a:pt x="82305" y="2384771"/>
                  </a:lnTo>
                  <a:lnTo>
                    <a:pt x="58241" y="2348140"/>
                  </a:lnTo>
                  <a:lnTo>
                    <a:pt x="37968" y="2309019"/>
                  </a:lnTo>
                  <a:lnTo>
                    <a:pt x="21747" y="2267668"/>
                  </a:lnTo>
                  <a:lnTo>
                    <a:pt x="9839" y="2224347"/>
                  </a:lnTo>
                  <a:lnTo>
                    <a:pt x="2503" y="2179317"/>
                  </a:lnTo>
                  <a:lnTo>
                    <a:pt x="0" y="2132838"/>
                  </a:lnTo>
                  <a:lnTo>
                    <a:pt x="0" y="426592"/>
                  </a:lnTo>
                  <a:close/>
                </a:path>
                <a:path w="7630795" h="2609215">
                  <a:moveTo>
                    <a:pt x="4392498" y="489458"/>
                  </a:moveTo>
                  <a:lnTo>
                    <a:pt x="4395349" y="440031"/>
                  </a:lnTo>
                  <a:lnTo>
                    <a:pt x="4403690" y="392276"/>
                  </a:lnTo>
                  <a:lnTo>
                    <a:pt x="4417204" y="346511"/>
                  </a:lnTo>
                  <a:lnTo>
                    <a:pt x="4435573" y="303055"/>
                  </a:lnTo>
                  <a:lnTo>
                    <a:pt x="4458477" y="262225"/>
                  </a:lnTo>
                  <a:lnTo>
                    <a:pt x="4485601" y="224341"/>
                  </a:lnTo>
                  <a:lnTo>
                    <a:pt x="4516624" y="189722"/>
                  </a:lnTo>
                  <a:lnTo>
                    <a:pt x="4551231" y="158684"/>
                  </a:lnTo>
                  <a:lnTo>
                    <a:pt x="4589102" y="131548"/>
                  </a:lnTo>
                  <a:lnTo>
                    <a:pt x="4629919" y="108632"/>
                  </a:lnTo>
                  <a:lnTo>
                    <a:pt x="4673365" y="90253"/>
                  </a:lnTo>
                  <a:lnTo>
                    <a:pt x="4719122" y="76731"/>
                  </a:lnTo>
                  <a:lnTo>
                    <a:pt x="4766872" y="68385"/>
                  </a:lnTo>
                  <a:lnTo>
                    <a:pt x="4816297" y="65531"/>
                  </a:lnTo>
                  <a:lnTo>
                    <a:pt x="7206564" y="65531"/>
                  </a:lnTo>
                  <a:lnTo>
                    <a:pt x="7255988" y="68385"/>
                  </a:lnTo>
                  <a:lnTo>
                    <a:pt x="7303738" y="76731"/>
                  </a:lnTo>
                  <a:lnTo>
                    <a:pt x="7349495" y="90253"/>
                  </a:lnTo>
                  <a:lnTo>
                    <a:pt x="7392941" y="108632"/>
                  </a:lnTo>
                  <a:lnTo>
                    <a:pt x="7433759" y="131548"/>
                  </a:lnTo>
                  <a:lnTo>
                    <a:pt x="7471630" y="158684"/>
                  </a:lnTo>
                  <a:lnTo>
                    <a:pt x="7506236" y="189722"/>
                  </a:lnTo>
                  <a:lnTo>
                    <a:pt x="7537260" y="224341"/>
                  </a:lnTo>
                  <a:lnTo>
                    <a:pt x="7564383" y="262225"/>
                  </a:lnTo>
                  <a:lnTo>
                    <a:pt x="7587288" y="303055"/>
                  </a:lnTo>
                  <a:lnTo>
                    <a:pt x="7605656" y="346511"/>
                  </a:lnTo>
                  <a:lnTo>
                    <a:pt x="7619170" y="392276"/>
                  </a:lnTo>
                  <a:lnTo>
                    <a:pt x="7627512" y="440031"/>
                  </a:lnTo>
                  <a:lnTo>
                    <a:pt x="7630363" y="489458"/>
                  </a:lnTo>
                  <a:lnTo>
                    <a:pt x="7630363" y="2184781"/>
                  </a:lnTo>
                  <a:lnTo>
                    <a:pt x="7627512" y="2234207"/>
                  </a:lnTo>
                  <a:lnTo>
                    <a:pt x="7619170" y="2281962"/>
                  </a:lnTo>
                  <a:lnTo>
                    <a:pt x="7605656" y="2327727"/>
                  </a:lnTo>
                  <a:lnTo>
                    <a:pt x="7587288" y="2371183"/>
                  </a:lnTo>
                  <a:lnTo>
                    <a:pt x="7564383" y="2412013"/>
                  </a:lnTo>
                  <a:lnTo>
                    <a:pt x="7537260" y="2449897"/>
                  </a:lnTo>
                  <a:lnTo>
                    <a:pt x="7506236" y="2484516"/>
                  </a:lnTo>
                  <a:lnTo>
                    <a:pt x="7471630" y="2515554"/>
                  </a:lnTo>
                  <a:lnTo>
                    <a:pt x="7433759" y="2542690"/>
                  </a:lnTo>
                  <a:lnTo>
                    <a:pt x="7392941" y="2565606"/>
                  </a:lnTo>
                  <a:lnTo>
                    <a:pt x="7349495" y="2583985"/>
                  </a:lnTo>
                  <a:lnTo>
                    <a:pt x="7303738" y="2597507"/>
                  </a:lnTo>
                  <a:lnTo>
                    <a:pt x="7255988" y="2605853"/>
                  </a:lnTo>
                  <a:lnTo>
                    <a:pt x="7206564" y="2608707"/>
                  </a:lnTo>
                  <a:lnTo>
                    <a:pt x="4816297" y="2608707"/>
                  </a:lnTo>
                  <a:lnTo>
                    <a:pt x="4766872" y="2605853"/>
                  </a:lnTo>
                  <a:lnTo>
                    <a:pt x="4719122" y="2597507"/>
                  </a:lnTo>
                  <a:lnTo>
                    <a:pt x="4673365" y="2583985"/>
                  </a:lnTo>
                  <a:lnTo>
                    <a:pt x="4629919" y="2565606"/>
                  </a:lnTo>
                  <a:lnTo>
                    <a:pt x="4589102" y="2542690"/>
                  </a:lnTo>
                  <a:lnTo>
                    <a:pt x="4551231" y="2515554"/>
                  </a:lnTo>
                  <a:lnTo>
                    <a:pt x="4516624" y="2484516"/>
                  </a:lnTo>
                  <a:lnTo>
                    <a:pt x="4485601" y="2449897"/>
                  </a:lnTo>
                  <a:lnTo>
                    <a:pt x="4458477" y="2412013"/>
                  </a:lnTo>
                  <a:lnTo>
                    <a:pt x="4435573" y="2371183"/>
                  </a:lnTo>
                  <a:lnTo>
                    <a:pt x="4417204" y="2327727"/>
                  </a:lnTo>
                  <a:lnTo>
                    <a:pt x="4403690" y="2281962"/>
                  </a:lnTo>
                  <a:lnTo>
                    <a:pt x="4395349" y="2234207"/>
                  </a:lnTo>
                  <a:lnTo>
                    <a:pt x="4392498" y="2184781"/>
                  </a:lnTo>
                  <a:lnTo>
                    <a:pt x="4392498" y="489458"/>
                  </a:lnTo>
                  <a:close/>
                </a:path>
              </a:pathLst>
            </a:custGeom>
            <a:ln w="38100">
              <a:solidFill>
                <a:srgbClr val="226192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</p:spTree>
    <p:extLst>
      <p:ext uri="{BB962C8B-B14F-4D97-AF65-F5344CB8AC3E}">
        <p14:creationId xmlns:p14="http://schemas.microsoft.com/office/powerpoint/2010/main" val="421513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63770"/>
            <a:ext cx="9148689" cy="6339254"/>
            <a:chOff x="0" y="0"/>
            <a:chExt cx="9911080" cy="686752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905999" cy="6857996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629412" y="243840"/>
              <a:ext cx="1106805" cy="262255"/>
            </a:xfrm>
            <a:custGeom>
              <a:avLst/>
              <a:gdLst/>
              <a:ahLst/>
              <a:cxnLst/>
              <a:rect l="l" t="t" r="r" b="b"/>
              <a:pathLst>
                <a:path w="1106805" h="262255">
                  <a:moveTo>
                    <a:pt x="975360" y="0"/>
                  </a:moveTo>
                  <a:lnTo>
                    <a:pt x="131064" y="0"/>
                  </a:lnTo>
                  <a:lnTo>
                    <a:pt x="80045" y="10298"/>
                  </a:lnTo>
                  <a:lnTo>
                    <a:pt x="38385" y="38385"/>
                  </a:lnTo>
                  <a:lnTo>
                    <a:pt x="10298" y="80045"/>
                  </a:lnTo>
                  <a:lnTo>
                    <a:pt x="0" y="131063"/>
                  </a:lnTo>
                  <a:lnTo>
                    <a:pt x="10298" y="182082"/>
                  </a:lnTo>
                  <a:lnTo>
                    <a:pt x="38385" y="223742"/>
                  </a:lnTo>
                  <a:lnTo>
                    <a:pt x="80045" y="251829"/>
                  </a:lnTo>
                  <a:lnTo>
                    <a:pt x="131064" y="262127"/>
                  </a:lnTo>
                  <a:lnTo>
                    <a:pt x="975360" y="262127"/>
                  </a:lnTo>
                  <a:lnTo>
                    <a:pt x="1026378" y="251829"/>
                  </a:lnTo>
                  <a:lnTo>
                    <a:pt x="1068038" y="223742"/>
                  </a:lnTo>
                  <a:lnTo>
                    <a:pt x="1096125" y="182082"/>
                  </a:lnTo>
                  <a:lnTo>
                    <a:pt x="1106424" y="131063"/>
                  </a:lnTo>
                  <a:lnTo>
                    <a:pt x="1096125" y="80045"/>
                  </a:lnTo>
                  <a:lnTo>
                    <a:pt x="1068038" y="38385"/>
                  </a:lnTo>
                  <a:lnTo>
                    <a:pt x="1026378" y="10298"/>
                  </a:lnTo>
                  <a:lnTo>
                    <a:pt x="9753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8784218" y="6088451"/>
            <a:ext cx="110197" cy="210674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>
              <a:spcBef>
                <a:spcPts val="92"/>
              </a:spcBef>
            </a:pPr>
            <a:r>
              <a:rPr sz="1292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292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251519" y="488888"/>
            <a:ext cx="8152814" cy="1411458"/>
            <a:chOff x="272478" y="243878"/>
            <a:chExt cx="8832215" cy="1529080"/>
          </a:xfrm>
        </p:grpSpPr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72478" y="243878"/>
              <a:ext cx="2566670" cy="1054696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96568" y="1025105"/>
              <a:ext cx="7560818" cy="747687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714499" y="1091184"/>
              <a:ext cx="7389876" cy="499872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4345042" y="2332657"/>
            <a:ext cx="3843996" cy="2228420"/>
          </a:xfrm>
          <a:prstGeom prst="rect">
            <a:avLst/>
          </a:prstGeom>
        </p:spPr>
        <p:txBody>
          <a:bodyPr vert="horz" wrap="square" lIns="0" tIns="12309" rIns="0" bIns="0" rtlCol="0">
            <a:spAutoFit/>
          </a:bodyPr>
          <a:lstStyle/>
          <a:p>
            <a:pPr marL="105510" marR="98476" algn="ctr">
              <a:spcBef>
                <a:spcPts val="97"/>
              </a:spcBef>
            </a:pPr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Схема расположения земельного </a:t>
            </a:r>
            <a:r>
              <a:rPr sz="1846" spc="-54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участка на кадастровом </a:t>
            </a:r>
            <a:r>
              <a:rPr sz="1846" dirty="0">
                <a:solidFill>
                  <a:srgbClr val="174260"/>
                </a:solidFill>
                <a:latin typeface="Trebuchet MS"/>
                <a:cs typeface="Trebuchet MS"/>
              </a:rPr>
              <a:t>плане </a:t>
            </a:r>
            <a:r>
              <a:rPr sz="1846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территории</a:t>
            </a:r>
            <a:endParaRPr sz="1846">
              <a:latin typeface="Trebuchet MS"/>
              <a:cs typeface="Trebuchet MS"/>
            </a:endParaRPr>
          </a:p>
          <a:p>
            <a:pPr marL="11723" marR="4689" algn="ctr"/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-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т.ч.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случае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преобразования</a:t>
            </a:r>
            <a:r>
              <a:rPr sz="1477" spc="5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сходного 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земельного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участка,</a:t>
            </a:r>
            <a:r>
              <a:rPr sz="1477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предоставленного 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гаражному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кооперативу</a:t>
            </a:r>
            <a:r>
              <a:rPr sz="1477" spc="4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либо</a:t>
            </a:r>
            <a:r>
              <a:rPr sz="1477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ной 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организации,</a:t>
            </a:r>
            <a:r>
              <a:rPr sz="1477" spc="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при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которой</a:t>
            </a:r>
            <a:r>
              <a:rPr sz="1477" spc="4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был</a:t>
            </a:r>
            <a:r>
              <a:rPr sz="1477" spc="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организован </a:t>
            </a:r>
            <a:r>
              <a:rPr sz="1477" spc="-43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гаражный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кооператив,</a:t>
            </a:r>
            <a:r>
              <a:rPr sz="1477" spc="3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охранением</a:t>
            </a:r>
            <a:r>
              <a:rPr sz="1477" spc="6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его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 </a:t>
            </a:r>
            <a:r>
              <a:rPr sz="1477" spc="-42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измененных</a:t>
            </a:r>
            <a:r>
              <a:rPr sz="1477" spc="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границах</a:t>
            </a:r>
            <a:endParaRPr sz="1477">
              <a:latin typeface="Trebuchet MS"/>
              <a:cs typeface="Trebuchet M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07178" y="2384193"/>
            <a:ext cx="2075571" cy="580533"/>
          </a:xfrm>
          <a:prstGeom prst="rect">
            <a:avLst/>
          </a:prstGeom>
        </p:spPr>
        <p:txBody>
          <a:bodyPr vert="horz" wrap="square" lIns="0" tIns="12309" rIns="0" bIns="0" rtlCol="0">
            <a:spAutoFit/>
          </a:bodyPr>
          <a:lstStyle/>
          <a:p>
            <a:pPr algn="ctr">
              <a:spcBef>
                <a:spcPts val="97"/>
              </a:spcBef>
            </a:pPr>
            <a:r>
              <a:rPr sz="1846" dirty="0">
                <a:solidFill>
                  <a:srgbClr val="174260"/>
                </a:solidFill>
                <a:latin typeface="Trebuchet MS"/>
                <a:cs typeface="Trebuchet MS"/>
              </a:rPr>
              <a:t>Проект</a:t>
            </a:r>
            <a:r>
              <a:rPr sz="1846" spc="-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межевания</a:t>
            </a:r>
            <a:endParaRPr sz="1846">
              <a:latin typeface="Trebuchet MS"/>
              <a:cs typeface="Trebuchet MS"/>
            </a:endParaRPr>
          </a:p>
          <a:p>
            <a:pPr marL="586" algn="ctr"/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территории</a:t>
            </a:r>
            <a:endParaRPr sz="1846">
              <a:latin typeface="Trebuchet MS"/>
              <a:cs typeface="Trebuchet MS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1746973" y="1317441"/>
            <a:ext cx="6465862" cy="411947"/>
          </a:xfrm>
          <a:prstGeom prst="rect">
            <a:avLst/>
          </a:prstGeom>
        </p:spPr>
        <p:txBody>
          <a:bodyPr vert="horz" wrap="square" lIns="0" tIns="11723" rIns="0" bIns="0" rtlCol="0" anchor="ctr">
            <a:spAutoFit/>
          </a:bodyPr>
          <a:lstStyle/>
          <a:p>
            <a:pPr marL="11723">
              <a:lnSpc>
                <a:spcPct val="100000"/>
              </a:lnSpc>
              <a:spcBef>
                <a:spcPts val="92"/>
              </a:spcBef>
            </a:pPr>
            <a:r>
              <a:rPr sz="2600" b="1" dirty="0">
                <a:solidFill>
                  <a:srgbClr val="FFFFFF"/>
                </a:solidFill>
              </a:rPr>
              <a:t>Образование</a:t>
            </a:r>
            <a:r>
              <a:rPr sz="2600" b="1" spc="-32" dirty="0">
                <a:solidFill>
                  <a:srgbClr val="FFFFFF"/>
                </a:solidFill>
              </a:rPr>
              <a:t> </a:t>
            </a:r>
            <a:r>
              <a:rPr sz="2600" b="1" spc="-5" dirty="0">
                <a:solidFill>
                  <a:srgbClr val="FFFFFF"/>
                </a:solidFill>
              </a:rPr>
              <a:t>земельного</a:t>
            </a:r>
            <a:r>
              <a:rPr sz="2600" b="1" spc="-32" dirty="0">
                <a:solidFill>
                  <a:srgbClr val="FFFFFF"/>
                </a:solidFill>
              </a:rPr>
              <a:t> </a:t>
            </a:r>
            <a:r>
              <a:rPr sz="2600" b="1" spc="-5" dirty="0">
                <a:solidFill>
                  <a:srgbClr val="FFFFFF"/>
                </a:solidFill>
              </a:rPr>
              <a:t>участка</a:t>
            </a:r>
            <a:r>
              <a:rPr sz="2600" b="1" dirty="0">
                <a:solidFill>
                  <a:srgbClr val="FFFFFF"/>
                </a:solidFill>
              </a:rPr>
              <a:t> под</a:t>
            </a:r>
            <a:r>
              <a:rPr sz="2600" b="1" spc="-23" dirty="0">
                <a:solidFill>
                  <a:srgbClr val="FFFFFF"/>
                </a:solidFill>
              </a:rPr>
              <a:t> </a:t>
            </a:r>
            <a:r>
              <a:rPr sz="2600" b="1" dirty="0">
                <a:solidFill>
                  <a:srgbClr val="FFFFFF"/>
                </a:solidFill>
              </a:rPr>
              <a:t>гаражом</a:t>
            </a:r>
            <a:endParaRPr sz="2600" b="1" dirty="0"/>
          </a:p>
        </p:txBody>
      </p:sp>
      <p:grpSp>
        <p:nvGrpSpPr>
          <p:cNvPr id="13" name="object 13"/>
          <p:cNvGrpSpPr/>
          <p:nvPr/>
        </p:nvGrpSpPr>
        <p:grpSpPr>
          <a:xfrm>
            <a:off x="671615" y="1877802"/>
            <a:ext cx="7922455" cy="4558518"/>
            <a:chOff x="727583" y="1748535"/>
            <a:chExt cx="8582660" cy="4938395"/>
          </a:xfrm>
        </p:grpSpPr>
        <p:sp>
          <p:nvSpPr>
            <p:cNvPr id="14" name="object 14"/>
            <p:cNvSpPr/>
            <p:nvPr/>
          </p:nvSpPr>
          <p:spPr>
            <a:xfrm>
              <a:off x="2504694" y="1748535"/>
              <a:ext cx="4528185" cy="464820"/>
            </a:xfrm>
            <a:custGeom>
              <a:avLst/>
              <a:gdLst/>
              <a:ahLst/>
              <a:cxnLst/>
              <a:rect l="l" t="t" r="r" b="b"/>
              <a:pathLst>
                <a:path w="4528184" h="464819">
                  <a:moveTo>
                    <a:pt x="1085469" y="37592"/>
                  </a:moveTo>
                  <a:lnTo>
                    <a:pt x="1074801" y="11049"/>
                  </a:lnTo>
                  <a:lnTo>
                    <a:pt x="74345" y="411264"/>
                  </a:lnTo>
                  <a:lnTo>
                    <a:pt x="63754" y="384683"/>
                  </a:lnTo>
                  <a:lnTo>
                    <a:pt x="0" y="456311"/>
                  </a:lnTo>
                  <a:lnTo>
                    <a:pt x="95504" y="464312"/>
                  </a:lnTo>
                  <a:lnTo>
                    <a:pt x="87045" y="443103"/>
                  </a:lnTo>
                  <a:lnTo>
                    <a:pt x="84924" y="437794"/>
                  </a:lnTo>
                  <a:lnTo>
                    <a:pt x="1085469" y="37592"/>
                  </a:lnTo>
                  <a:close/>
                </a:path>
                <a:path w="4528184" h="464819">
                  <a:moveTo>
                    <a:pt x="4528185" y="392684"/>
                  </a:moveTo>
                  <a:lnTo>
                    <a:pt x="4518253" y="382397"/>
                  </a:lnTo>
                  <a:lnTo>
                    <a:pt x="4461637" y="323723"/>
                  </a:lnTo>
                  <a:lnTo>
                    <a:pt x="4452124" y="350596"/>
                  </a:lnTo>
                  <a:lnTo>
                    <a:pt x="3461131" y="0"/>
                  </a:lnTo>
                  <a:lnTo>
                    <a:pt x="3451606" y="26924"/>
                  </a:lnTo>
                  <a:lnTo>
                    <a:pt x="4442561" y="377634"/>
                  </a:lnTo>
                  <a:lnTo>
                    <a:pt x="4433062" y="404495"/>
                  </a:lnTo>
                  <a:lnTo>
                    <a:pt x="4528185" y="392684"/>
                  </a:lnTo>
                  <a:close/>
                </a:path>
              </a:pathLst>
            </a:custGeom>
            <a:solidFill>
              <a:srgbClr val="0E7697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15" name="object 15"/>
            <p:cNvSpPr/>
            <p:nvPr/>
          </p:nvSpPr>
          <p:spPr>
            <a:xfrm>
              <a:off x="746633" y="4940934"/>
              <a:ext cx="8544560" cy="1727200"/>
            </a:xfrm>
            <a:custGeom>
              <a:avLst/>
              <a:gdLst/>
              <a:ahLst/>
              <a:cxnLst/>
              <a:rect l="l" t="t" r="r" b="b"/>
              <a:pathLst>
                <a:path w="8544560" h="1727200">
                  <a:moveTo>
                    <a:pt x="8256651" y="0"/>
                  </a:moveTo>
                  <a:lnTo>
                    <a:pt x="287807" y="0"/>
                  </a:lnTo>
                  <a:lnTo>
                    <a:pt x="241123" y="3764"/>
                  </a:lnTo>
                  <a:lnTo>
                    <a:pt x="196837" y="14664"/>
                  </a:lnTo>
                  <a:lnTo>
                    <a:pt x="155542" y="32109"/>
                  </a:lnTo>
                  <a:lnTo>
                    <a:pt x="117831" y="55506"/>
                  </a:lnTo>
                  <a:lnTo>
                    <a:pt x="84296" y="84264"/>
                  </a:lnTo>
                  <a:lnTo>
                    <a:pt x="55529" y="117793"/>
                  </a:lnTo>
                  <a:lnTo>
                    <a:pt x="32124" y="155500"/>
                  </a:lnTo>
                  <a:lnTo>
                    <a:pt x="14672" y="196795"/>
                  </a:lnTo>
                  <a:lnTo>
                    <a:pt x="3766" y="241086"/>
                  </a:lnTo>
                  <a:lnTo>
                    <a:pt x="0" y="287781"/>
                  </a:lnTo>
                  <a:lnTo>
                    <a:pt x="0" y="1438998"/>
                  </a:lnTo>
                  <a:lnTo>
                    <a:pt x="3766" y="1485683"/>
                  </a:lnTo>
                  <a:lnTo>
                    <a:pt x="14672" y="1529968"/>
                  </a:lnTo>
                  <a:lnTo>
                    <a:pt x="32124" y="1571263"/>
                  </a:lnTo>
                  <a:lnTo>
                    <a:pt x="55529" y="1608974"/>
                  </a:lnTo>
                  <a:lnTo>
                    <a:pt x="84296" y="1642510"/>
                  </a:lnTo>
                  <a:lnTo>
                    <a:pt x="117831" y="1671276"/>
                  </a:lnTo>
                  <a:lnTo>
                    <a:pt x="155542" y="1694682"/>
                  </a:lnTo>
                  <a:lnTo>
                    <a:pt x="196837" y="1712133"/>
                  </a:lnTo>
                  <a:lnTo>
                    <a:pt x="241123" y="1723039"/>
                  </a:lnTo>
                  <a:lnTo>
                    <a:pt x="287807" y="1726806"/>
                  </a:lnTo>
                  <a:lnTo>
                    <a:pt x="8256651" y="1726806"/>
                  </a:lnTo>
                  <a:lnTo>
                    <a:pt x="8303346" y="1723039"/>
                  </a:lnTo>
                  <a:lnTo>
                    <a:pt x="8347637" y="1712133"/>
                  </a:lnTo>
                  <a:lnTo>
                    <a:pt x="8388932" y="1694682"/>
                  </a:lnTo>
                  <a:lnTo>
                    <a:pt x="8426639" y="1671276"/>
                  </a:lnTo>
                  <a:lnTo>
                    <a:pt x="8460168" y="1642510"/>
                  </a:lnTo>
                  <a:lnTo>
                    <a:pt x="8488926" y="1608974"/>
                  </a:lnTo>
                  <a:lnTo>
                    <a:pt x="8512323" y="1571263"/>
                  </a:lnTo>
                  <a:lnTo>
                    <a:pt x="8529768" y="1529968"/>
                  </a:lnTo>
                  <a:lnTo>
                    <a:pt x="8540668" y="1485683"/>
                  </a:lnTo>
                  <a:lnTo>
                    <a:pt x="8544433" y="1438998"/>
                  </a:lnTo>
                  <a:lnTo>
                    <a:pt x="8544433" y="287781"/>
                  </a:lnTo>
                  <a:lnTo>
                    <a:pt x="8540668" y="241086"/>
                  </a:lnTo>
                  <a:lnTo>
                    <a:pt x="8529768" y="196795"/>
                  </a:lnTo>
                  <a:lnTo>
                    <a:pt x="8512323" y="155500"/>
                  </a:lnTo>
                  <a:lnTo>
                    <a:pt x="8488926" y="117793"/>
                  </a:lnTo>
                  <a:lnTo>
                    <a:pt x="8460168" y="84264"/>
                  </a:lnTo>
                  <a:lnTo>
                    <a:pt x="8426639" y="55506"/>
                  </a:lnTo>
                  <a:lnTo>
                    <a:pt x="8388932" y="32109"/>
                  </a:lnTo>
                  <a:lnTo>
                    <a:pt x="8347637" y="14664"/>
                  </a:lnTo>
                  <a:lnTo>
                    <a:pt x="8303346" y="3764"/>
                  </a:lnTo>
                  <a:lnTo>
                    <a:pt x="8256651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sp>
          <p:nvSpPr>
            <p:cNvPr id="16" name="object 16"/>
            <p:cNvSpPr/>
            <p:nvPr/>
          </p:nvSpPr>
          <p:spPr>
            <a:xfrm>
              <a:off x="746633" y="4940934"/>
              <a:ext cx="8544560" cy="1727200"/>
            </a:xfrm>
            <a:custGeom>
              <a:avLst/>
              <a:gdLst/>
              <a:ahLst/>
              <a:cxnLst/>
              <a:rect l="l" t="t" r="r" b="b"/>
              <a:pathLst>
                <a:path w="8544560" h="1727200">
                  <a:moveTo>
                    <a:pt x="0" y="287781"/>
                  </a:moveTo>
                  <a:lnTo>
                    <a:pt x="3766" y="241086"/>
                  </a:lnTo>
                  <a:lnTo>
                    <a:pt x="14672" y="196795"/>
                  </a:lnTo>
                  <a:lnTo>
                    <a:pt x="32124" y="155500"/>
                  </a:lnTo>
                  <a:lnTo>
                    <a:pt x="55529" y="117793"/>
                  </a:lnTo>
                  <a:lnTo>
                    <a:pt x="84296" y="84264"/>
                  </a:lnTo>
                  <a:lnTo>
                    <a:pt x="117831" y="55506"/>
                  </a:lnTo>
                  <a:lnTo>
                    <a:pt x="155542" y="32109"/>
                  </a:lnTo>
                  <a:lnTo>
                    <a:pt x="196837" y="14664"/>
                  </a:lnTo>
                  <a:lnTo>
                    <a:pt x="241123" y="3764"/>
                  </a:lnTo>
                  <a:lnTo>
                    <a:pt x="287807" y="0"/>
                  </a:lnTo>
                  <a:lnTo>
                    <a:pt x="8256651" y="0"/>
                  </a:lnTo>
                  <a:lnTo>
                    <a:pt x="8303346" y="3764"/>
                  </a:lnTo>
                  <a:lnTo>
                    <a:pt x="8347637" y="14664"/>
                  </a:lnTo>
                  <a:lnTo>
                    <a:pt x="8388932" y="32109"/>
                  </a:lnTo>
                  <a:lnTo>
                    <a:pt x="8426639" y="55506"/>
                  </a:lnTo>
                  <a:lnTo>
                    <a:pt x="8460168" y="84264"/>
                  </a:lnTo>
                  <a:lnTo>
                    <a:pt x="8488926" y="117793"/>
                  </a:lnTo>
                  <a:lnTo>
                    <a:pt x="8512323" y="155500"/>
                  </a:lnTo>
                  <a:lnTo>
                    <a:pt x="8529768" y="196795"/>
                  </a:lnTo>
                  <a:lnTo>
                    <a:pt x="8540668" y="241086"/>
                  </a:lnTo>
                  <a:lnTo>
                    <a:pt x="8544433" y="287781"/>
                  </a:lnTo>
                  <a:lnTo>
                    <a:pt x="8544433" y="1438998"/>
                  </a:lnTo>
                  <a:lnTo>
                    <a:pt x="8540668" y="1485683"/>
                  </a:lnTo>
                  <a:lnTo>
                    <a:pt x="8529768" y="1529968"/>
                  </a:lnTo>
                  <a:lnTo>
                    <a:pt x="8512323" y="1571263"/>
                  </a:lnTo>
                  <a:lnTo>
                    <a:pt x="8488926" y="1608974"/>
                  </a:lnTo>
                  <a:lnTo>
                    <a:pt x="8460168" y="1642510"/>
                  </a:lnTo>
                  <a:lnTo>
                    <a:pt x="8426639" y="1671276"/>
                  </a:lnTo>
                  <a:lnTo>
                    <a:pt x="8388932" y="1694682"/>
                  </a:lnTo>
                  <a:lnTo>
                    <a:pt x="8347637" y="1712133"/>
                  </a:lnTo>
                  <a:lnTo>
                    <a:pt x="8303346" y="1723039"/>
                  </a:lnTo>
                  <a:lnTo>
                    <a:pt x="8256651" y="1726806"/>
                  </a:lnTo>
                  <a:lnTo>
                    <a:pt x="287807" y="1726806"/>
                  </a:lnTo>
                  <a:lnTo>
                    <a:pt x="241123" y="1723039"/>
                  </a:lnTo>
                  <a:lnTo>
                    <a:pt x="196837" y="1712133"/>
                  </a:lnTo>
                  <a:lnTo>
                    <a:pt x="155542" y="1694682"/>
                  </a:lnTo>
                  <a:lnTo>
                    <a:pt x="117831" y="1671276"/>
                  </a:lnTo>
                  <a:lnTo>
                    <a:pt x="84296" y="1642510"/>
                  </a:lnTo>
                  <a:lnTo>
                    <a:pt x="55529" y="1608974"/>
                  </a:lnTo>
                  <a:lnTo>
                    <a:pt x="32124" y="1571263"/>
                  </a:lnTo>
                  <a:lnTo>
                    <a:pt x="14672" y="1529968"/>
                  </a:lnTo>
                  <a:lnTo>
                    <a:pt x="3766" y="1485683"/>
                  </a:lnTo>
                  <a:lnTo>
                    <a:pt x="0" y="1438998"/>
                  </a:lnTo>
                  <a:lnTo>
                    <a:pt x="0" y="287781"/>
                  </a:lnTo>
                  <a:close/>
                </a:path>
              </a:pathLst>
            </a:custGeom>
            <a:ln w="38099">
              <a:solidFill>
                <a:srgbClr val="4494AF"/>
              </a:solidFill>
            </a:ln>
          </p:spPr>
          <p:txBody>
            <a:bodyPr wrap="square" lIns="0" tIns="0" rIns="0" bIns="0" rtlCol="0"/>
            <a:lstStyle/>
            <a:p>
              <a:endParaRPr sz="1662"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85395" y="4909038"/>
            <a:ext cx="7251308" cy="1403693"/>
          </a:xfrm>
          <a:prstGeom prst="rect">
            <a:avLst/>
          </a:prstGeom>
        </p:spPr>
        <p:txBody>
          <a:bodyPr vert="horz" wrap="square" lIns="0" tIns="11723" rIns="0" bIns="0" rtlCol="0">
            <a:spAutoFit/>
          </a:bodyPr>
          <a:lstStyle/>
          <a:p>
            <a:pPr marL="11723" marR="4689" algn="ctr">
              <a:spcBef>
                <a:spcPts val="92"/>
              </a:spcBef>
            </a:pP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В</a:t>
            </a:r>
            <a:r>
              <a:rPr sz="1292" spc="3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принятии</a:t>
            </a:r>
            <a:r>
              <a:rPr sz="1292" spc="37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решения</a:t>
            </a:r>
            <a:r>
              <a:rPr sz="1292" spc="23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о</a:t>
            </a:r>
            <a:r>
              <a:rPr sz="1292" spc="4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предварительном</a:t>
            </a:r>
            <a:r>
              <a:rPr sz="1292" spc="9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согласовании</a:t>
            </a:r>
            <a:r>
              <a:rPr sz="1292" spc="23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предоставления</a:t>
            </a:r>
            <a:r>
              <a:rPr sz="1292" spc="9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земельного</a:t>
            </a:r>
            <a:r>
              <a:rPr sz="1292" spc="28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участка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не</a:t>
            </a:r>
            <a:r>
              <a:rPr sz="1292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может</a:t>
            </a:r>
            <a:r>
              <a:rPr sz="1292" spc="-9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быть</a:t>
            </a:r>
            <a:r>
              <a:rPr sz="1292" spc="14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отказано</a:t>
            </a:r>
            <a:r>
              <a:rPr sz="1292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только</a:t>
            </a:r>
            <a:r>
              <a:rPr sz="1292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на</a:t>
            </a:r>
            <a:r>
              <a:rPr sz="1292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основании</a:t>
            </a:r>
            <a:r>
              <a:rPr sz="1292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отсутствия</a:t>
            </a:r>
            <a:r>
              <a:rPr sz="1292" spc="23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в</a:t>
            </a:r>
            <a:r>
              <a:rPr sz="1292" spc="5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градостроительном</a:t>
            </a:r>
            <a:r>
              <a:rPr sz="1292" spc="-23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регламенте,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утвержденном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применительно к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территориальной зоне,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в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границах которой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находится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гараж, </a:t>
            </a:r>
            <a:r>
              <a:rPr sz="1292" spc="-378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вида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разрешенного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использования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земельных участков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и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объектов капитального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строительства, предусматривающего возможность размещения гаражей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в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границах такой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территориальной зоны,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либо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на основании того,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что испрашиваемый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земельный участок </a:t>
            </a:r>
            <a:r>
              <a:rPr sz="1292" dirty="0">
                <a:solidFill>
                  <a:srgbClr val="C00000"/>
                </a:solidFill>
                <a:latin typeface="Trebuchet MS"/>
                <a:cs typeface="Trebuchet MS"/>
              </a:rPr>
              <a:t> предоставлен</a:t>
            </a:r>
            <a:r>
              <a:rPr sz="1292" spc="-46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гаражному</a:t>
            </a:r>
            <a:r>
              <a:rPr sz="1292" spc="-14" dirty="0">
                <a:solidFill>
                  <a:srgbClr val="C00000"/>
                </a:solidFill>
                <a:latin typeface="Trebuchet MS"/>
                <a:cs typeface="Trebuchet MS"/>
              </a:rPr>
              <a:t> </a:t>
            </a:r>
            <a:r>
              <a:rPr sz="1292" spc="-5" dirty="0">
                <a:solidFill>
                  <a:srgbClr val="C00000"/>
                </a:solidFill>
                <a:latin typeface="Trebuchet MS"/>
                <a:cs typeface="Trebuchet MS"/>
              </a:rPr>
              <a:t>кооперативу</a:t>
            </a:r>
            <a:r>
              <a:rPr sz="1200" spc="-5" dirty="0">
                <a:solidFill>
                  <a:srgbClr val="0E7697"/>
                </a:solidFill>
                <a:latin typeface="Trebuchet MS"/>
                <a:cs typeface="Trebuchet MS"/>
              </a:rPr>
              <a:t>.</a:t>
            </a:r>
            <a:endParaRPr sz="1200">
              <a:latin typeface="Trebuchet MS"/>
              <a:cs typeface="Trebuchet M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69477" y="3531459"/>
            <a:ext cx="2386232" cy="580533"/>
          </a:xfrm>
          <a:prstGeom prst="rect">
            <a:avLst/>
          </a:prstGeom>
        </p:spPr>
        <p:txBody>
          <a:bodyPr vert="horz" wrap="square" lIns="0" tIns="12309" rIns="0" bIns="0" rtlCol="0">
            <a:spAutoFit/>
          </a:bodyPr>
          <a:lstStyle/>
          <a:p>
            <a:pPr marL="807740" marR="4689" indent="-796603">
              <a:spcBef>
                <a:spcPts val="97"/>
              </a:spcBef>
            </a:pPr>
            <a:r>
              <a:rPr sz="1846" dirty="0">
                <a:solidFill>
                  <a:srgbClr val="174260"/>
                </a:solidFill>
                <a:latin typeface="Trebuchet MS"/>
                <a:cs typeface="Trebuchet MS"/>
              </a:rPr>
              <a:t>ВРИ</a:t>
            </a:r>
            <a:r>
              <a:rPr sz="1846" spc="-4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dirty="0">
                <a:solidFill>
                  <a:srgbClr val="174260"/>
                </a:solidFill>
                <a:latin typeface="Trebuchet MS"/>
                <a:cs typeface="Trebuchet MS"/>
              </a:rPr>
              <a:t>ЗУ</a:t>
            </a:r>
            <a:r>
              <a:rPr sz="1846" spc="-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dirty="0">
                <a:solidFill>
                  <a:srgbClr val="174260"/>
                </a:solidFill>
                <a:latin typeface="Trebuchet MS"/>
                <a:cs typeface="Trebuchet MS"/>
              </a:rPr>
              <a:t>=</a:t>
            </a:r>
            <a:r>
              <a:rPr sz="1846" spc="-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размещение </a:t>
            </a:r>
            <a:r>
              <a:rPr sz="1846" spc="-540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846" spc="-5" dirty="0">
                <a:solidFill>
                  <a:srgbClr val="174260"/>
                </a:solidFill>
                <a:latin typeface="Trebuchet MS"/>
                <a:cs typeface="Trebuchet MS"/>
              </a:rPr>
              <a:t>гаража</a:t>
            </a:r>
            <a:endParaRPr sz="1846">
              <a:latin typeface="Trebuchet MS"/>
              <a:cs typeface="Trebuchet M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682131" y="3496641"/>
            <a:ext cx="2760198" cy="663526"/>
          </a:xfrm>
          <a:custGeom>
            <a:avLst/>
            <a:gdLst/>
            <a:ahLst/>
            <a:cxnLst/>
            <a:rect l="l" t="t" r="r" b="b"/>
            <a:pathLst>
              <a:path w="2990215" h="718820">
                <a:moveTo>
                  <a:pt x="0" y="119888"/>
                </a:moveTo>
                <a:lnTo>
                  <a:pt x="9413" y="73241"/>
                </a:lnTo>
                <a:lnTo>
                  <a:pt x="35086" y="35131"/>
                </a:lnTo>
                <a:lnTo>
                  <a:pt x="73166" y="9427"/>
                </a:lnTo>
                <a:lnTo>
                  <a:pt x="119799" y="0"/>
                </a:lnTo>
                <a:lnTo>
                  <a:pt x="2870111" y="0"/>
                </a:lnTo>
                <a:lnTo>
                  <a:pt x="2916737" y="9427"/>
                </a:lnTo>
                <a:lnTo>
                  <a:pt x="2954804" y="35131"/>
                </a:lnTo>
                <a:lnTo>
                  <a:pt x="2980464" y="73241"/>
                </a:lnTo>
                <a:lnTo>
                  <a:pt x="2989872" y="119888"/>
                </a:lnTo>
                <a:lnTo>
                  <a:pt x="2989872" y="599059"/>
                </a:lnTo>
                <a:lnTo>
                  <a:pt x="2980464" y="645685"/>
                </a:lnTo>
                <a:lnTo>
                  <a:pt x="2954804" y="683752"/>
                </a:lnTo>
                <a:lnTo>
                  <a:pt x="2916737" y="709412"/>
                </a:lnTo>
                <a:lnTo>
                  <a:pt x="2870111" y="718820"/>
                </a:lnTo>
                <a:lnTo>
                  <a:pt x="119799" y="718820"/>
                </a:lnTo>
                <a:lnTo>
                  <a:pt x="73166" y="709412"/>
                </a:lnTo>
                <a:lnTo>
                  <a:pt x="35086" y="683752"/>
                </a:lnTo>
                <a:lnTo>
                  <a:pt x="9413" y="645685"/>
                </a:lnTo>
                <a:lnTo>
                  <a:pt x="0" y="599059"/>
                </a:lnTo>
                <a:lnTo>
                  <a:pt x="0" y="119888"/>
                </a:lnTo>
                <a:close/>
              </a:path>
            </a:pathLst>
          </a:custGeom>
          <a:ln w="38100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 sz="1662"/>
          </a:p>
        </p:txBody>
      </p:sp>
    </p:spTree>
    <p:extLst>
      <p:ext uri="{BB962C8B-B14F-4D97-AF65-F5344CB8AC3E}">
        <p14:creationId xmlns:p14="http://schemas.microsoft.com/office/powerpoint/2010/main" val="3922887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63770"/>
            <a:ext cx="9148689" cy="6339254"/>
            <a:chOff x="0" y="0"/>
            <a:chExt cx="9911080" cy="6867525"/>
          </a:xfrm>
        </p:grpSpPr>
        <p:sp>
          <p:nvSpPr>
            <p:cNvPr id="3" name="object 3"/>
            <p:cNvSpPr/>
            <p:nvPr/>
          </p:nvSpPr>
          <p:spPr>
            <a:xfrm>
              <a:off x="629412" y="243840"/>
              <a:ext cx="1106805" cy="262255"/>
            </a:xfrm>
            <a:custGeom>
              <a:avLst/>
              <a:gdLst/>
              <a:ahLst/>
              <a:cxnLst/>
              <a:rect l="l" t="t" r="r" b="b"/>
              <a:pathLst>
                <a:path w="1106805" h="262255">
                  <a:moveTo>
                    <a:pt x="975360" y="0"/>
                  </a:moveTo>
                  <a:lnTo>
                    <a:pt x="131064" y="0"/>
                  </a:lnTo>
                  <a:lnTo>
                    <a:pt x="80045" y="10298"/>
                  </a:lnTo>
                  <a:lnTo>
                    <a:pt x="38385" y="38385"/>
                  </a:lnTo>
                  <a:lnTo>
                    <a:pt x="10298" y="80045"/>
                  </a:lnTo>
                  <a:lnTo>
                    <a:pt x="0" y="131063"/>
                  </a:lnTo>
                  <a:lnTo>
                    <a:pt x="10298" y="182082"/>
                  </a:lnTo>
                  <a:lnTo>
                    <a:pt x="38385" y="223742"/>
                  </a:lnTo>
                  <a:lnTo>
                    <a:pt x="80045" y="251829"/>
                  </a:lnTo>
                  <a:lnTo>
                    <a:pt x="131064" y="262127"/>
                  </a:lnTo>
                  <a:lnTo>
                    <a:pt x="975360" y="262127"/>
                  </a:lnTo>
                  <a:lnTo>
                    <a:pt x="1026378" y="251829"/>
                  </a:lnTo>
                  <a:lnTo>
                    <a:pt x="1068038" y="223742"/>
                  </a:lnTo>
                  <a:lnTo>
                    <a:pt x="1096125" y="182082"/>
                  </a:lnTo>
                  <a:lnTo>
                    <a:pt x="1106424" y="131063"/>
                  </a:lnTo>
                  <a:lnTo>
                    <a:pt x="1096125" y="80045"/>
                  </a:lnTo>
                  <a:lnTo>
                    <a:pt x="1068038" y="38385"/>
                  </a:lnTo>
                  <a:lnTo>
                    <a:pt x="1026378" y="10298"/>
                  </a:lnTo>
                  <a:lnTo>
                    <a:pt x="9753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662"/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72478" y="243878"/>
              <a:ext cx="2566670" cy="1054696"/>
            </a:xfrm>
            <a:prstGeom prst="rect">
              <a:avLst/>
            </a:prstGeom>
          </p:spPr>
        </p:pic>
      </p:grpSp>
      <p:sp>
        <p:nvSpPr>
          <p:cNvPr id="5" name="object 5"/>
          <p:cNvSpPr txBox="1"/>
          <p:nvPr/>
        </p:nvSpPr>
        <p:spPr>
          <a:xfrm>
            <a:off x="1149424" y="2656801"/>
            <a:ext cx="6893169" cy="1965271"/>
          </a:xfrm>
          <a:prstGeom prst="rect">
            <a:avLst/>
          </a:prstGeom>
        </p:spPr>
        <p:txBody>
          <a:bodyPr vert="horz" wrap="square" lIns="0" tIns="12309" rIns="0" bIns="0" rtlCol="0">
            <a:spAutoFit/>
          </a:bodyPr>
          <a:lstStyle/>
          <a:p>
            <a:pPr marL="11723" marR="4689" algn="ctr">
              <a:spcBef>
                <a:spcPts val="97"/>
              </a:spcBef>
            </a:pP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Утвержденная органами местного самоуправления </a:t>
            </a:r>
            <a:r>
              <a:rPr sz="1569" dirty="0">
                <a:solidFill>
                  <a:srgbClr val="174260"/>
                </a:solidFill>
                <a:latin typeface="Trebuchet MS"/>
                <a:cs typeface="Trebuchet MS"/>
              </a:rPr>
              <a:t>поселений,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городских </a:t>
            </a:r>
            <a:r>
              <a:rPr sz="1569" spc="-46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округов </a:t>
            </a:r>
            <a:r>
              <a:rPr sz="1569" dirty="0">
                <a:solidFill>
                  <a:srgbClr val="174260"/>
                </a:solidFill>
                <a:latin typeface="Trebuchet MS"/>
                <a:cs typeface="Trebuchet MS"/>
              </a:rPr>
              <a:t>или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муниципальных округов, </a:t>
            </a:r>
            <a:r>
              <a:rPr sz="1569" dirty="0">
                <a:solidFill>
                  <a:srgbClr val="174260"/>
                </a:solidFill>
                <a:latin typeface="Trebuchet MS"/>
                <a:cs typeface="Trebuchet MS"/>
              </a:rPr>
              <a:t>а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на </a:t>
            </a:r>
            <a:r>
              <a:rPr sz="1569" dirty="0">
                <a:solidFill>
                  <a:srgbClr val="174260"/>
                </a:solidFill>
                <a:latin typeface="Trebuchet MS"/>
                <a:cs typeface="Trebuchet MS"/>
              </a:rPr>
              <a:t>межселенных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территориях </a:t>
            </a:r>
            <a:r>
              <a:rPr sz="1569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органами</a:t>
            </a:r>
            <a:r>
              <a:rPr sz="1569" spc="-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местного</a:t>
            </a:r>
            <a:r>
              <a:rPr sz="1569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самоуправления</a:t>
            </a:r>
            <a:r>
              <a:rPr sz="1569" spc="-1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муниципальных</a:t>
            </a:r>
            <a:r>
              <a:rPr sz="1569" spc="-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569" spc="-5" dirty="0">
                <a:solidFill>
                  <a:srgbClr val="174260"/>
                </a:solidFill>
                <a:latin typeface="Trebuchet MS"/>
                <a:cs typeface="Trebuchet MS"/>
              </a:rPr>
              <a:t>районов</a:t>
            </a:r>
            <a:endParaRPr sz="1569" dirty="0">
              <a:latin typeface="Trebuchet MS"/>
              <a:cs typeface="Trebuchet MS"/>
            </a:endParaRPr>
          </a:p>
          <a:p>
            <a:pPr marL="2931" algn="ctr">
              <a:lnSpc>
                <a:spcPts val="2635"/>
              </a:lnSpc>
            </a:pPr>
            <a:r>
              <a:rPr sz="2215" u="heavy" spc="-5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схема</a:t>
            </a:r>
            <a:r>
              <a:rPr sz="2215" u="heavy" spc="-18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 </a:t>
            </a:r>
            <a:r>
              <a:rPr sz="2215" u="heavy" spc="-5" dirty="0" err="1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размещения</a:t>
            </a:r>
            <a:r>
              <a:rPr sz="2215" u="heavy" spc="14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 </a:t>
            </a:r>
            <a:r>
              <a:rPr sz="2215" u="heavy" spc="-5" dirty="0" err="1" smtClean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некапит</a:t>
            </a:r>
            <a:r>
              <a:rPr lang="ru-RU" sz="2215" u="heavy" spc="-5" dirty="0" smtClean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а</a:t>
            </a:r>
            <a:r>
              <a:rPr sz="2215" u="heavy" spc="-5" dirty="0" err="1" smtClean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льных</a:t>
            </a:r>
            <a:r>
              <a:rPr sz="2215" u="heavy" spc="5" dirty="0" smtClean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 </a:t>
            </a:r>
            <a:r>
              <a:rPr sz="2215" u="heavy" spc="-5" dirty="0">
                <a:solidFill>
                  <a:srgbClr val="FF0000"/>
                </a:solidFill>
                <a:uFill>
                  <a:solidFill>
                    <a:srgbClr val="FF0000"/>
                  </a:solidFill>
                </a:uFill>
                <a:latin typeface="Trebuchet MS"/>
                <a:cs typeface="Trebuchet MS"/>
              </a:rPr>
              <a:t>объектов</a:t>
            </a:r>
            <a:endParaRPr sz="2215" dirty="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2308" dirty="0">
              <a:latin typeface="Trebuchet MS"/>
              <a:cs typeface="Trebuchet MS"/>
            </a:endParaRPr>
          </a:p>
          <a:p>
            <a:pPr marL="108441" marR="99062" algn="ctr"/>
            <a:r>
              <a:rPr sz="1662" dirty="0">
                <a:solidFill>
                  <a:srgbClr val="FF0000"/>
                </a:solidFill>
                <a:latin typeface="Trebuchet MS"/>
                <a:cs typeface="Trebuchet MS"/>
              </a:rPr>
              <a:t>Порядок </a:t>
            </a:r>
            <a:r>
              <a:rPr sz="1662" spc="-5" dirty="0">
                <a:solidFill>
                  <a:srgbClr val="FF0000"/>
                </a:solidFill>
                <a:latin typeface="Trebuchet MS"/>
                <a:cs typeface="Trebuchet MS"/>
              </a:rPr>
              <a:t>утверждения схемы </a:t>
            </a:r>
            <a:r>
              <a:rPr sz="1662" dirty="0">
                <a:solidFill>
                  <a:srgbClr val="FF0000"/>
                </a:solidFill>
                <a:latin typeface="Trebuchet MS"/>
                <a:cs typeface="Trebuchet MS"/>
              </a:rPr>
              <a:t>определяется </a:t>
            </a:r>
            <a:r>
              <a:rPr sz="1662" spc="-5" dirty="0">
                <a:solidFill>
                  <a:srgbClr val="FF0000"/>
                </a:solidFill>
                <a:latin typeface="Trebuchet MS"/>
                <a:cs typeface="Trebuchet MS"/>
              </a:rPr>
              <a:t>нормативным правовым </a:t>
            </a:r>
            <a:r>
              <a:rPr sz="1662" spc="-489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FF0000"/>
                </a:solidFill>
                <a:latin typeface="Trebuchet MS"/>
                <a:cs typeface="Trebuchet MS"/>
              </a:rPr>
              <a:t>актом</a:t>
            </a:r>
            <a:r>
              <a:rPr sz="1662" spc="-32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662" spc="-5" dirty="0">
                <a:solidFill>
                  <a:srgbClr val="FF0000"/>
                </a:solidFill>
                <a:latin typeface="Trebuchet MS"/>
                <a:cs typeface="Trebuchet MS"/>
              </a:rPr>
              <a:t>субъекта Российской</a:t>
            </a:r>
            <a:r>
              <a:rPr sz="1662" spc="-37" dirty="0">
                <a:solidFill>
                  <a:srgbClr val="FF0000"/>
                </a:solidFill>
                <a:latin typeface="Trebuchet MS"/>
                <a:cs typeface="Trebuchet MS"/>
              </a:rPr>
              <a:t> </a:t>
            </a:r>
            <a:r>
              <a:rPr sz="1662" dirty="0">
                <a:solidFill>
                  <a:srgbClr val="FF0000"/>
                </a:solidFill>
                <a:latin typeface="Trebuchet MS"/>
                <a:cs typeface="Trebuchet MS"/>
              </a:rPr>
              <a:t>Федера</a:t>
            </a:r>
            <a:r>
              <a:rPr sz="1846" dirty="0">
                <a:solidFill>
                  <a:srgbClr val="FF0000"/>
                </a:solidFill>
                <a:latin typeface="Trebuchet MS"/>
                <a:cs typeface="Trebuchet MS"/>
              </a:rPr>
              <a:t>ции</a:t>
            </a:r>
            <a:endParaRPr sz="1846" dirty="0">
              <a:latin typeface="Trebuchet MS"/>
              <a:cs typeface="Trebuchet MS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931691" y="1604421"/>
            <a:ext cx="7482254" cy="694592"/>
            <a:chOff x="1009332" y="1452372"/>
            <a:chExt cx="8105775" cy="752475"/>
          </a:xfrm>
        </p:grpSpPr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09332" y="1484820"/>
              <a:ext cx="8064881" cy="719899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71371" y="1452372"/>
              <a:ext cx="2189988" cy="400812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932175" y="1452372"/>
              <a:ext cx="3124200" cy="40081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727191" y="1452372"/>
              <a:ext cx="3387852" cy="40081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648968" y="1741931"/>
              <a:ext cx="6809232" cy="400812"/>
            </a:xfrm>
            <a:prstGeom prst="rect">
              <a:avLst/>
            </a:prstGeom>
          </p:spPr>
        </p:pic>
      </p:grpSp>
      <p:sp>
        <p:nvSpPr>
          <p:cNvPr id="12" name="object 12"/>
          <p:cNvSpPr txBox="1"/>
          <p:nvPr/>
        </p:nvSpPr>
        <p:spPr>
          <a:xfrm>
            <a:off x="1117349" y="1659635"/>
            <a:ext cx="7073705" cy="551137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545137" marR="4689" indent="-534000">
              <a:spcBef>
                <a:spcPts val="88"/>
              </a:spcBef>
            </a:pPr>
            <a:r>
              <a:rPr sz="1754" b="1" spc="-5" dirty="0">
                <a:solidFill>
                  <a:srgbClr val="FFFFFF"/>
                </a:solidFill>
                <a:latin typeface="Trebuchet MS"/>
                <a:cs typeface="Trebuchet MS"/>
              </a:rPr>
              <a:t>Использование</a:t>
            </a:r>
            <a:r>
              <a:rPr sz="1754" b="1" spc="23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9" dirty="0">
                <a:solidFill>
                  <a:srgbClr val="FFFFFF"/>
                </a:solidFill>
                <a:latin typeface="Trebuchet MS"/>
                <a:cs typeface="Trebuchet MS"/>
              </a:rPr>
              <a:t>земель</a:t>
            </a:r>
            <a:r>
              <a:rPr sz="1754" b="1" spc="9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9" dirty="0">
                <a:solidFill>
                  <a:srgbClr val="FFFFFF"/>
                </a:solidFill>
                <a:latin typeface="Trebuchet MS"/>
                <a:cs typeface="Trebuchet MS"/>
              </a:rPr>
              <a:t>или</a:t>
            </a:r>
            <a:r>
              <a:rPr sz="1754" b="1" spc="-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9" dirty="0">
                <a:solidFill>
                  <a:srgbClr val="FFFFFF"/>
                </a:solidFill>
                <a:latin typeface="Trebuchet MS"/>
                <a:cs typeface="Trebuchet MS"/>
              </a:rPr>
              <a:t>земельных</a:t>
            </a:r>
            <a:r>
              <a:rPr sz="1754" b="1" spc="28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5" dirty="0">
                <a:solidFill>
                  <a:srgbClr val="FFFFFF"/>
                </a:solidFill>
                <a:latin typeface="Trebuchet MS"/>
                <a:cs typeface="Trebuchet MS"/>
              </a:rPr>
              <a:t>участков</a:t>
            </a:r>
            <a:r>
              <a:rPr sz="1754" b="1" spc="9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5" dirty="0">
                <a:solidFill>
                  <a:srgbClr val="FFFFFF"/>
                </a:solidFill>
                <a:latin typeface="Trebuchet MS"/>
                <a:cs typeface="Trebuchet MS"/>
              </a:rPr>
              <a:t>для</a:t>
            </a:r>
            <a:r>
              <a:rPr sz="1754" b="1" spc="5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5" dirty="0">
                <a:solidFill>
                  <a:srgbClr val="FFFFFF"/>
                </a:solidFill>
                <a:latin typeface="Trebuchet MS"/>
                <a:cs typeface="Trebuchet MS"/>
              </a:rPr>
              <a:t>возведения </a:t>
            </a:r>
            <a:r>
              <a:rPr sz="1754" b="1" spc="-512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9" dirty="0">
                <a:solidFill>
                  <a:srgbClr val="FFFFFF"/>
                </a:solidFill>
                <a:latin typeface="Trebuchet MS"/>
                <a:cs typeface="Trebuchet MS"/>
              </a:rPr>
              <a:t>гаражей,</a:t>
            </a:r>
            <a:r>
              <a:rPr sz="1754" b="1" spc="9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5" dirty="0">
                <a:solidFill>
                  <a:srgbClr val="FFFFFF"/>
                </a:solidFill>
                <a:latin typeface="Trebuchet MS"/>
                <a:cs typeface="Trebuchet MS"/>
              </a:rPr>
              <a:t>являющихся</a:t>
            </a:r>
            <a:r>
              <a:rPr sz="1754" b="1" spc="14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9" dirty="0">
                <a:solidFill>
                  <a:srgbClr val="FFFFFF"/>
                </a:solidFill>
                <a:latin typeface="Trebuchet MS"/>
                <a:cs typeface="Trebuchet MS"/>
              </a:rPr>
              <a:t>некапитальными</a:t>
            </a:r>
            <a:r>
              <a:rPr sz="1754" b="1" spc="28" dirty="0">
                <a:solidFill>
                  <a:srgbClr val="FFFFFF"/>
                </a:solidFill>
                <a:latin typeface="Trebuchet MS"/>
                <a:cs typeface="Trebuchet MS"/>
              </a:rPr>
              <a:t> </a:t>
            </a:r>
            <a:r>
              <a:rPr sz="1754" b="1" spc="-9" dirty="0">
                <a:solidFill>
                  <a:srgbClr val="FFFFFF"/>
                </a:solidFill>
                <a:latin typeface="Trebuchet MS"/>
                <a:cs typeface="Trebuchet MS"/>
              </a:rPr>
              <a:t>сооружениями</a:t>
            </a:r>
            <a:endParaRPr sz="1754">
              <a:latin typeface="Trebuchet MS"/>
              <a:cs typeface="Trebuchet M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19200" y="5197660"/>
            <a:ext cx="7675098" cy="1112188"/>
          </a:xfrm>
          <a:prstGeom prst="rect">
            <a:avLst/>
          </a:prstGeom>
        </p:spPr>
        <p:txBody>
          <a:bodyPr vert="horz" wrap="square" lIns="0" tIns="11137" rIns="0" bIns="0" rtlCol="0">
            <a:spAutoFit/>
          </a:bodyPr>
          <a:lstStyle/>
          <a:p>
            <a:pPr marL="11723" marR="511725" algn="ctr">
              <a:spcBef>
                <a:spcPts val="88"/>
              </a:spcBef>
            </a:pP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спользование</a:t>
            </a:r>
            <a:r>
              <a:rPr sz="1477" spc="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земель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ли</a:t>
            </a:r>
            <a:r>
              <a:rPr sz="1477" spc="1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земельных</a:t>
            </a:r>
            <a:r>
              <a:rPr sz="1477" spc="4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участков,</a:t>
            </a:r>
            <a:r>
              <a:rPr sz="1477" spc="3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находящихся</a:t>
            </a:r>
            <a:r>
              <a:rPr sz="1477" spc="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в</a:t>
            </a:r>
            <a:r>
              <a:rPr sz="1477" spc="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государственной </a:t>
            </a:r>
            <a:r>
              <a:rPr sz="1477" spc="-434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или муниципальной</a:t>
            </a:r>
            <a:r>
              <a:rPr sz="1477" spc="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собственности,</a:t>
            </a:r>
            <a:r>
              <a:rPr sz="1477" spc="51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для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возведения</a:t>
            </a:r>
            <a:r>
              <a:rPr sz="1477" spc="23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гражданами</a:t>
            </a:r>
            <a:r>
              <a:rPr sz="1477" spc="28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гаражей, </a:t>
            </a:r>
            <a:r>
              <a:rPr sz="1477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являющихся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 некапитальными</a:t>
            </a:r>
            <a:r>
              <a:rPr sz="1477" spc="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сооружениями,</a:t>
            </a:r>
            <a:r>
              <a:rPr sz="1477" spc="46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осуществляется</a:t>
            </a:r>
            <a:r>
              <a:rPr sz="1477" spc="55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5" dirty="0">
                <a:solidFill>
                  <a:srgbClr val="174260"/>
                </a:solidFill>
                <a:latin typeface="Trebuchet MS"/>
                <a:cs typeface="Trebuchet MS"/>
              </a:rPr>
              <a:t>за</a:t>
            </a:r>
            <a:r>
              <a:rPr sz="1477" spc="32" dirty="0">
                <a:solidFill>
                  <a:srgbClr val="174260"/>
                </a:solidFill>
                <a:latin typeface="Trebuchet MS"/>
                <a:cs typeface="Trebuchet MS"/>
              </a:rPr>
              <a:t> </a:t>
            </a:r>
            <a:r>
              <a:rPr sz="1477" spc="-9" dirty="0">
                <a:solidFill>
                  <a:srgbClr val="174260"/>
                </a:solidFill>
                <a:latin typeface="Trebuchet MS"/>
                <a:cs typeface="Trebuchet MS"/>
              </a:rPr>
              <a:t>плату.</a:t>
            </a:r>
            <a:endParaRPr sz="1477" dirty="0">
              <a:latin typeface="Trebuchet MS"/>
              <a:cs typeface="Trebuchet MS"/>
            </a:endParaRPr>
          </a:p>
          <a:p>
            <a:pPr>
              <a:spcBef>
                <a:spcPts val="42"/>
              </a:spcBef>
            </a:pPr>
            <a:endParaRPr sz="1431" dirty="0">
              <a:latin typeface="Trebuchet MS"/>
              <a:cs typeface="Trebuchet MS"/>
            </a:endParaRPr>
          </a:p>
          <a:p>
            <a:pPr marR="4689" algn="r"/>
            <a:r>
              <a:rPr sz="1292" dirty="0">
                <a:solidFill>
                  <a:srgbClr val="FFFFFF"/>
                </a:solidFill>
                <a:latin typeface="Trebuchet MS"/>
                <a:cs typeface="Trebuchet MS"/>
              </a:rPr>
              <a:t>3</a:t>
            </a:r>
            <a:endParaRPr sz="1292" dirty="0">
              <a:latin typeface="Trebuchet MS"/>
              <a:cs typeface="Trebuchet M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115614" y="5157216"/>
            <a:ext cx="7378505" cy="947225"/>
          </a:xfrm>
          <a:custGeom>
            <a:avLst/>
            <a:gdLst/>
            <a:ahLst/>
            <a:cxnLst/>
            <a:rect l="l" t="t" r="r" b="b"/>
            <a:pathLst>
              <a:path w="7993380" h="1026160">
                <a:moveTo>
                  <a:pt x="0" y="170941"/>
                </a:moveTo>
                <a:lnTo>
                  <a:pt x="6106" y="125515"/>
                </a:lnTo>
                <a:lnTo>
                  <a:pt x="23340" y="84685"/>
                </a:lnTo>
                <a:lnTo>
                  <a:pt x="50076" y="50085"/>
                </a:lnTo>
                <a:lnTo>
                  <a:pt x="84685" y="23349"/>
                </a:lnTo>
                <a:lnTo>
                  <a:pt x="125541" y="6109"/>
                </a:lnTo>
                <a:lnTo>
                  <a:pt x="171018" y="0"/>
                </a:lnTo>
                <a:lnTo>
                  <a:pt x="7821879" y="0"/>
                </a:lnTo>
                <a:lnTo>
                  <a:pt x="7867359" y="6109"/>
                </a:lnTo>
                <a:lnTo>
                  <a:pt x="7908225" y="23349"/>
                </a:lnTo>
                <a:lnTo>
                  <a:pt x="7942846" y="50085"/>
                </a:lnTo>
                <a:lnTo>
                  <a:pt x="7969594" y="84685"/>
                </a:lnTo>
                <a:lnTo>
                  <a:pt x="7986838" y="125515"/>
                </a:lnTo>
                <a:lnTo>
                  <a:pt x="7992948" y="170941"/>
                </a:lnTo>
                <a:lnTo>
                  <a:pt x="7992948" y="855040"/>
                </a:lnTo>
                <a:lnTo>
                  <a:pt x="7986838" y="900503"/>
                </a:lnTo>
                <a:lnTo>
                  <a:pt x="7969594" y="941355"/>
                </a:lnTo>
                <a:lnTo>
                  <a:pt x="7942846" y="975968"/>
                </a:lnTo>
                <a:lnTo>
                  <a:pt x="7908225" y="1002709"/>
                </a:lnTo>
                <a:lnTo>
                  <a:pt x="7867359" y="1019949"/>
                </a:lnTo>
                <a:lnTo>
                  <a:pt x="7821879" y="1026058"/>
                </a:lnTo>
                <a:lnTo>
                  <a:pt x="171018" y="1026058"/>
                </a:lnTo>
                <a:lnTo>
                  <a:pt x="125541" y="1019949"/>
                </a:lnTo>
                <a:lnTo>
                  <a:pt x="84685" y="1002709"/>
                </a:lnTo>
                <a:lnTo>
                  <a:pt x="50076" y="975968"/>
                </a:lnTo>
                <a:lnTo>
                  <a:pt x="23340" y="941355"/>
                </a:lnTo>
                <a:lnTo>
                  <a:pt x="6106" y="900503"/>
                </a:lnTo>
                <a:lnTo>
                  <a:pt x="0" y="855040"/>
                </a:lnTo>
                <a:lnTo>
                  <a:pt x="0" y="170941"/>
                </a:lnTo>
                <a:close/>
              </a:path>
            </a:pathLst>
          </a:custGeom>
          <a:ln w="38100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62"/>
          </a:p>
        </p:txBody>
      </p:sp>
    </p:spTree>
    <p:extLst>
      <p:ext uri="{BB962C8B-B14F-4D97-AF65-F5344CB8AC3E}">
        <p14:creationId xmlns:p14="http://schemas.microsoft.com/office/powerpoint/2010/main" val="1009312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-12964"/>
            <a:ext cx="9144000" cy="5602605"/>
            <a:chOff x="0" y="0"/>
            <a:chExt cx="9144000" cy="560260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368552" y="0"/>
              <a:ext cx="6316980" cy="5602224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0"/>
              <a:ext cx="9144000" cy="539496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403351" y="71622"/>
            <a:ext cx="854354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30" dirty="0"/>
              <a:t>РАНЕЕ</a:t>
            </a:r>
            <a:r>
              <a:rPr sz="2400" b="1" spc="-25" dirty="0"/>
              <a:t> </a:t>
            </a:r>
            <a:r>
              <a:rPr sz="2400" b="1" spc="-5" dirty="0"/>
              <a:t>УЧТЕННЫЕ</a:t>
            </a:r>
            <a:r>
              <a:rPr sz="2400" b="1" spc="-20" dirty="0"/>
              <a:t> </a:t>
            </a:r>
            <a:r>
              <a:rPr sz="2400" b="1" dirty="0"/>
              <a:t>ОБЪЕКТЫ</a:t>
            </a:r>
            <a:r>
              <a:rPr sz="2400" b="1" spc="-15" dirty="0"/>
              <a:t> </a:t>
            </a:r>
            <a:r>
              <a:rPr sz="2400" b="1" spc="5" dirty="0" smtClean="0"/>
              <a:t>НЕДВИЖИМОСТИ</a:t>
            </a:r>
            <a:r>
              <a:rPr lang="ru-RU" sz="2400" b="1" spc="5" dirty="0" smtClean="0"/>
              <a:t>-218-ФЗ ст. 69</a:t>
            </a:r>
            <a:endParaRPr sz="2400" b="1" dirty="0"/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57556" y="940308"/>
            <a:ext cx="8540496" cy="620268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593972" y="1077849"/>
            <a:ext cx="186817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dirty="0">
                <a:solidFill>
                  <a:srgbClr val="FFFFFF"/>
                </a:solidFill>
                <a:latin typeface="Segoe UI"/>
                <a:cs typeface="Segoe UI"/>
              </a:rPr>
              <a:t>О</a:t>
            </a:r>
            <a:r>
              <a:rPr sz="2000" spc="-55" dirty="0">
                <a:solidFill>
                  <a:srgbClr val="FFFFFF"/>
                </a:solidFill>
                <a:latin typeface="Segoe UI"/>
                <a:cs typeface="Segoe UI"/>
              </a:rPr>
              <a:t>С</a:t>
            </a:r>
            <a:r>
              <a:rPr sz="2000" dirty="0">
                <a:solidFill>
                  <a:srgbClr val="FFFFFF"/>
                </a:solidFill>
                <a:latin typeface="Segoe UI"/>
                <a:cs typeface="Segoe UI"/>
              </a:rPr>
              <a:t>ОБ</a:t>
            </a:r>
            <a:r>
              <a:rPr sz="2000" spc="-15" dirty="0">
                <a:solidFill>
                  <a:srgbClr val="FFFFFF"/>
                </a:solidFill>
                <a:latin typeface="Segoe UI"/>
                <a:cs typeface="Segoe UI"/>
              </a:rPr>
              <a:t>Е</a:t>
            </a:r>
            <a:r>
              <a:rPr sz="2000" dirty="0">
                <a:solidFill>
                  <a:srgbClr val="FFFFFF"/>
                </a:solidFill>
                <a:latin typeface="Segoe UI"/>
                <a:cs typeface="Segoe UI"/>
              </a:rPr>
              <a:t>Н</a:t>
            </a:r>
            <a:r>
              <a:rPr sz="2000" spc="5" dirty="0">
                <a:solidFill>
                  <a:srgbClr val="FFFFFF"/>
                </a:solidFill>
                <a:latin typeface="Segoe UI"/>
                <a:cs typeface="Segoe UI"/>
              </a:rPr>
              <a:t>Н</a:t>
            </a:r>
            <a:r>
              <a:rPr sz="2000" dirty="0">
                <a:solidFill>
                  <a:srgbClr val="FFFFFF"/>
                </a:solidFill>
                <a:latin typeface="Segoe UI"/>
                <a:cs typeface="Segoe UI"/>
              </a:rPr>
              <a:t>ОС</a:t>
            </a:r>
            <a:r>
              <a:rPr sz="2000" spc="-10" dirty="0">
                <a:solidFill>
                  <a:srgbClr val="FFFFFF"/>
                </a:solidFill>
                <a:latin typeface="Segoe UI"/>
                <a:cs typeface="Segoe UI"/>
              </a:rPr>
              <a:t>Т</a:t>
            </a:r>
            <a:r>
              <a:rPr sz="2000" dirty="0">
                <a:solidFill>
                  <a:srgbClr val="FFFFFF"/>
                </a:solidFill>
                <a:latin typeface="Segoe UI"/>
                <a:cs typeface="Segoe UI"/>
              </a:rPr>
              <a:t>И</a:t>
            </a:r>
            <a:endParaRPr sz="2000">
              <a:latin typeface="Segoe UI"/>
              <a:cs typeface="Segoe U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43713" y="4151248"/>
            <a:ext cx="2188845" cy="2137410"/>
            <a:chOff x="243713" y="4151248"/>
            <a:chExt cx="2188845" cy="2137410"/>
          </a:xfrm>
        </p:grpSpPr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58318" y="4165853"/>
              <a:ext cx="2159508" cy="2107692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258318" y="4165853"/>
              <a:ext cx="2159635" cy="2108200"/>
            </a:xfrm>
            <a:custGeom>
              <a:avLst/>
              <a:gdLst/>
              <a:ahLst/>
              <a:cxnLst/>
              <a:rect l="l" t="t" r="r" b="b"/>
              <a:pathLst>
                <a:path w="2159635" h="2108200">
                  <a:moveTo>
                    <a:pt x="0" y="2107692"/>
                  </a:moveTo>
                  <a:lnTo>
                    <a:pt x="2159508" y="2107692"/>
                  </a:lnTo>
                  <a:lnTo>
                    <a:pt x="2159508" y="0"/>
                  </a:lnTo>
                  <a:lnTo>
                    <a:pt x="0" y="0"/>
                  </a:lnTo>
                  <a:lnTo>
                    <a:pt x="0" y="2107692"/>
                  </a:lnTo>
                  <a:close/>
                </a:path>
              </a:pathLst>
            </a:custGeom>
            <a:ln w="28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65252" y="4836922"/>
            <a:ext cx="1941830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9255" marR="57785" indent="-3175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НЕТ</a:t>
            </a:r>
            <a:r>
              <a:rPr sz="1600" spc="-6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МЕХАНИЗМОВ </a:t>
            </a:r>
            <a:r>
              <a:rPr sz="1600" spc="-42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600" spc="-10" dirty="0">
                <a:solidFill>
                  <a:srgbClr val="FFFFFF"/>
                </a:solidFill>
                <a:latin typeface="Segoe UI"/>
                <a:cs typeface="Segoe UI"/>
              </a:rPr>
              <a:t>ВЫЯВЛЕНИЯ</a:t>
            </a:r>
            <a:endParaRPr sz="1600" dirty="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1600" spc="-15" dirty="0">
                <a:solidFill>
                  <a:srgbClr val="FFFFFF"/>
                </a:solidFill>
                <a:latin typeface="Segoe UI"/>
                <a:cs typeface="Segoe UI"/>
              </a:rPr>
              <a:t>ПРАВООБЛАДАТЕЛЯ</a:t>
            </a:r>
            <a:endParaRPr sz="1600" dirty="0">
              <a:latin typeface="Segoe UI"/>
              <a:cs typeface="Segoe UI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2610485" y="4151248"/>
            <a:ext cx="1931670" cy="2137410"/>
            <a:chOff x="2610485" y="4151248"/>
            <a:chExt cx="1931670" cy="2137410"/>
          </a:xfrm>
        </p:grpSpPr>
        <p:pic>
          <p:nvPicPr>
            <p:cNvPr id="13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625090" y="4165853"/>
              <a:ext cx="1901952" cy="2107692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2625090" y="4165853"/>
              <a:ext cx="1902460" cy="2108200"/>
            </a:xfrm>
            <a:custGeom>
              <a:avLst/>
              <a:gdLst/>
              <a:ahLst/>
              <a:cxnLst/>
              <a:rect l="l" t="t" r="r" b="b"/>
              <a:pathLst>
                <a:path w="1902460" h="2108200">
                  <a:moveTo>
                    <a:pt x="0" y="2107692"/>
                  </a:moveTo>
                  <a:lnTo>
                    <a:pt x="1901952" y="2107692"/>
                  </a:lnTo>
                  <a:lnTo>
                    <a:pt x="1901952" y="0"/>
                  </a:lnTo>
                  <a:lnTo>
                    <a:pt x="0" y="0"/>
                  </a:lnTo>
                  <a:lnTo>
                    <a:pt x="0" y="2107692"/>
                  </a:lnTo>
                  <a:close/>
                </a:path>
              </a:pathLst>
            </a:custGeom>
            <a:ln w="28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795142" y="4836922"/>
            <a:ext cx="1564005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13030" marR="108585" indent="156845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Segoe UI"/>
                <a:cs typeface="Segoe UI"/>
              </a:rPr>
              <a:t>ВСЕ </a:t>
            </a:r>
            <a:r>
              <a:rPr sz="1600" spc="-30" dirty="0">
                <a:solidFill>
                  <a:srgbClr val="FFFFFF"/>
                </a:solidFill>
                <a:latin typeface="Segoe UI"/>
                <a:cs typeface="Segoe UI"/>
              </a:rPr>
              <a:t>ПРАВА </a:t>
            </a:r>
            <a:r>
              <a:rPr sz="1600" spc="-25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ПРИЗНА</a:t>
            </a:r>
            <a:r>
              <a:rPr sz="1600" spc="-85" dirty="0">
                <a:solidFill>
                  <a:srgbClr val="FFFFFF"/>
                </a:solidFill>
                <a:latin typeface="Segoe UI"/>
                <a:cs typeface="Segoe UI"/>
              </a:rPr>
              <a:t>Ю</a:t>
            </a:r>
            <a:r>
              <a:rPr sz="1600" spc="-75" dirty="0">
                <a:solidFill>
                  <a:srgbClr val="FFFFFF"/>
                </a:solidFill>
                <a:latin typeface="Segoe UI"/>
                <a:cs typeface="Segoe UI"/>
              </a:rPr>
              <a:t>Т</a:t>
            </a:r>
            <a:r>
              <a:rPr sz="1600" spc="-10" dirty="0">
                <a:solidFill>
                  <a:srgbClr val="FFFFFF"/>
                </a:solidFill>
                <a:latin typeface="Segoe UI"/>
                <a:cs typeface="Segoe UI"/>
              </a:rPr>
              <a:t>СЯ</a:t>
            </a:r>
            <a:endParaRPr sz="1600">
              <a:latin typeface="Segoe UI"/>
              <a:cs typeface="Segoe UI"/>
            </a:endParaRPr>
          </a:p>
          <a:p>
            <a:pPr marL="12700">
              <a:lnSpc>
                <a:spcPct val="100000"/>
              </a:lnSpc>
            </a:pPr>
            <a:r>
              <a:rPr sz="1600" spc="-20" dirty="0">
                <a:solidFill>
                  <a:srgbClr val="FFFFFF"/>
                </a:solidFill>
                <a:latin typeface="Segoe UI"/>
                <a:cs typeface="Segoe UI"/>
              </a:rPr>
              <a:t>ГОСУДАРСТВОМ</a:t>
            </a:r>
            <a:endParaRPr sz="1600">
              <a:latin typeface="Segoe UI"/>
              <a:cs typeface="Segoe UI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4657216" y="4151248"/>
            <a:ext cx="2406650" cy="2137410"/>
            <a:chOff x="4657216" y="4151248"/>
            <a:chExt cx="2406650" cy="2137410"/>
          </a:xfrm>
        </p:grpSpPr>
        <p:pic>
          <p:nvPicPr>
            <p:cNvPr id="17" name="object 1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671821" y="4165853"/>
              <a:ext cx="2377439" cy="2107692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4671821" y="4165853"/>
              <a:ext cx="2377440" cy="2108200"/>
            </a:xfrm>
            <a:custGeom>
              <a:avLst/>
              <a:gdLst/>
              <a:ahLst/>
              <a:cxnLst/>
              <a:rect l="l" t="t" r="r" b="b"/>
              <a:pathLst>
                <a:path w="2377440" h="2108200">
                  <a:moveTo>
                    <a:pt x="0" y="2107692"/>
                  </a:moveTo>
                  <a:lnTo>
                    <a:pt x="2377439" y="2107692"/>
                  </a:lnTo>
                  <a:lnTo>
                    <a:pt x="2377439" y="0"/>
                  </a:lnTo>
                  <a:lnTo>
                    <a:pt x="0" y="0"/>
                  </a:lnTo>
                  <a:lnTo>
                    <a:pt x="0" y="2107692"/>
                  </a:lnTo>
                  <a:close/>
                </a:path>
              </a:pathLst>
            </a:custGeom>
            <a:ln w="28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4775961" y="4958841"/>
            <a:ext cx="217043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4160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НЕТ ОБЯЗАННОСТИ </a:t>
            </a:r>
            <a:r>
              <a:rPr sz="1600" dirty="0">
                <a:solidFill>
                  <a:srgbClr val="FFFFFF"/>
                </a:solidFill>
                <a:latin typeface="Segoe UI"/>
                <a:cs typeface="Segoe UI"/>
              </a:rPr>
              <a:t> </a:t>
            </a:r>
            <a:r>
              <a:rPr sz="1600" spc="-15" dirty="0">
                <a:solidFill>
                  <a:srgbClr val="FFFFFF"/>
                </a:solidFill>
                <a:latin typeface="Segoe UI"/>
                <a:cs typeface="Segoe UI"/>
              </a:rPr>
              <a:t>ПЕРЕРЕГИСТРИРОВАТЬ</a:t>
            </a:r>
            <a:endParaRPr sz="1600">
              <a:latin typeface="Segoe UI"/>
              <a:cs typeface="Segoe UI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7211568" y="4151376"/>
            <a:ext cx="1750060" cy="2136775"/>
            <a:chOff x="7211568" y="4151376"/>
            <a:chExt cx="1750060" cy="2136775"/>
          </a:xfrm>
        </p:grpSpPr>
        <p:pic>
          <p:nvPicPr>
            <p:cNvPr id="21" name="object 2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226046" y="4165854"/>
              <a:ext cx="1720596" cy="2107692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7226046" y="4165854"/>
              <a:ext cx="1720850" cy="2108200"/>
            </a:xfrm>
            <a:custGeom>
              <a:avLst/>
              <a:gdLst/>
              <a:ahLst/>
              <a:cxnLst/>
              <a:rect l="l" t="t" r="r" b="b"/>
              <a:pathLst>
                <a:path w="1720850" h="2108200">
                  <a:moveTo>
                    <a:pt x="0" y="2107692"/>
                  </a:moveTo>
                  <a:lnTo>
                    <a:pt x="1720596" y="2107692"/>
                  </a:lnTo>
                  <a:lnTo>
                    <a:pt x="1720596" y="0"/>
                  </a:lnTo>
                  <a:lnTo>
                    <a:pt x="0" y="0"/>
                  </a:lnTo>
                  <a:lnTo>
                    <a:pt x="0" y="2107692"/>
                  </a:lnTo>
                  <a:close/>
                </a:path>
              </a:pathLst>
            </a:custGeom>
            <a:ln w="28956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7429245" y="4715002"/>
            <a:ext cx="1313815" cy="1000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FFFF"/>
                </a:solidFill>
                <a:latin typeface="Segoe UI"/>
                <a:cs typeface="Segoe UI"/>
              </a:rPr>
              <a:t>Н</a:t>
            </a: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ЕИЗВЕ</a:t>
            </a:r>
            <a:r>
              <a:rPr sz="1600" spc="-15" dirty="0">
                <a:solidFill>
                  <a:srgbClr val="FFFFFF"/>
                </a:solidFill>
                <a:latin typeface="Segoe UI"/>
                <a:cs typeface="Segoe UI"/>
              </a:rPr>
              <a:t>С</a:t>
            </a: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ТН</a:t>
            </a:r>
            <a:r>
              <a:rPr sz="1600" spc="-85" dirty="0">
                <a:solidFill>
                  <a:srgbClr val="FFFFFF"/>
                </a:solidFill>
                <a:latin typeface="Segoe UI"/>
                <a:cs typeface="Segoe UI"/>
              </a:rPr>
              <a:t>О</a:t>
            </a:r>
            <a:r>
              <a:rPr sz="1600" spc="-5" dirty="0">
                <a:solidFill>
                  <a:srgbClr val="FFFFFF"/>
                </a:solidFill>
                <a:latin typeface="Segoe UI"/>
                <a:cs typeface="Segoe UI"/>
              </a:rPr>
              <a:t>,  </a:t>
            </a:r>
            <a:r>
              <a:rPr sz="1600" spc="-30" dirty="0">
                <a:solidFill>
                  <a:srgbClr val="FFFFFF"/>
                </a:solidFill>
                <a:latin typeface="Segoe UI"/>
                <a:cs typeface="Segoe UI"/>
              </a:rPr>
              <a:t>СКОЛЬКО</a:t>
            </a:r>
            <a:endParaRPr sz="1600">
              <a:latin typeface="Segoe UI"/>
              <a:cs typeface="Segoe UI"/>
            </a:endParaRPr>
          </a:p>
          <a:p>
            <a:pPr marL="1905" algn="ctr">
              <a:lnSpc>
                <a:spcPct val="100000"/>
              </a:lnSpc>
            </a:pPr>
            <a:r>
              <a:rPr sz="1600" spc="-15" dirty="0">
                <a:solidFill>
                  <a:srgbClr val="FFFFFF"/>
                </a:solidFill>
                <a:latin typeface="Segoe UI"/>
                <a:cs typeface="Segoe UI"/>
              </a:rPr>
              <a:t>ОБЪЕКТОВ</a:t>
            </a:r>
            <a:endParaRPr sz="1600">
              <a:latin typeface="Segoe UI"/>
              <a:cs typeface="Segoe UI"/>
            </a:endParaRPr>
          </a:p>
          <a:p>
            <a:pPr marL="1905" algn="ctr">
              <a:lnSpc>
                <a:spcPct val="100000"/>
              </a:lnSpc>
            </a:pPr>
            <a:r>
              <a:rPr sz="1600" spc="-10" dirty="0">
                <a:solidFill>
                  <a:srgbClr val="FFFFFF"/>
                </a:solidFill>
                <a:latin typeface="Segoe UI"/>
                <a:cs typeface="Segoe UI"/>
              </a:rPr>
              <a:t>СУЩЕСТВУЕТ</a:t>
            </a:r>
            <a:endParaRPr sz="1600"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10542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578941" y="480512"/>
            <a:ext cx="856505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894011"/>
            <a:r>
              <a:rPr lang="ru-RU" sz="2000" kern="0" dirty="0" smtClean="0">
                <a:solidFill>
                  <a:schemeClr val="accent1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зисы по основным изменениям в законодательстве</a:t>
            </a:r>
            <a:endParaRPr lang="ru-RU" sz="2000" kern="0" dirty="0">
              <a:solidFill>
                <a:schemeClr val="accent1">
                  <a:lumMod val="75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" y="938742"/>
            <a:ext cx="9106927" cy="2389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страция проще (120-ФЗ)</a:t>
            </a:r>
            <a:endParaRPr lang="ru-RU" sz="1400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«Стоп-бумага»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не нужна ЭЦП лица, заключившего договор с органом власти;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для исполнения судебного акта, содержащего все необходимое для ГКУ, не требуется межевой и технический планы;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не требуется нотариальная форма для сделок по отчуждению долей в связи с изъятием для публичных нужд;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продление «амнистии» для КУ и РП военного имущества по декларации до 2025 года;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урегулирован вопрос с наименованиями объекта недвижимости (вносятся только для автодорог, объектов культурного наследия и для объектов, введенных в эксплуатацию с РНВ);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sz="135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введена возможность снятия с учета объектов, не являющихся </a:t>
            </a:r>
            <a:r>
              <a:rPr lang="ru-RU" sz="135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движимыми.</a:t>
            </a:r>
            <a:endParaRPr lang="ru-RU" sz="135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7071" y="3358375"/>
            <a:ext cx="9069858" cy="1310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страция и учет проще для застройщиков (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-фз)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Пределы </a:t>
            </a:r>
            <a:r>
              <a:rPr lang="ru-RU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вовой экспертизы документации на объекты, возведенные с выдачей РНВ, ограничена - технический план, разрешение на ввод и проектная документация проверяются исключительно на предмет соответствия площади, этажности, количества помещений и </a:t>
            </a:r>
            <a:r>
              <a:rPr lang="ru-RU" sz="14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шино</a:t>
            </a:r>
            <a:r>
              <a:rPr lang="ru-RU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мест</a:t>
            </a:r>
            <a:r>
              <a:rPr lang="ru-RU" sz="14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Введено </a:t>
            </a:r>
            <a:r>
              <a:rPr lang="ru-RU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устимое отклонение площади ОКС от проекта и РНС – 5%.</a:t>
            </a:r>
            <a:endParaRPr lang="ru-RU" sz="14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071" y="4604657"/>
            <a:ext cx="8964315" cy="17223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ЖС проще в оформлении (404-ФЗ)</a:t>
            </a:r>
            <a:endParaRPr lang="ru-RU" sz="1400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 2026 года продлена «амнистия» для садовых домов и </a:t>
            </a:r>
            <a:r>
              <a:rPr lang="ru-RU" sz="15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ЖС.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</a:t>
            </a:r>
            <a:endParaRPr lang="ru-RU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КР за счет внебюджетных средств (445-ФЗ)</a:t>
            </a:r>
            <a:endParaRPr lang="ru-RU" sz="1400" dirty="0" smtClean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sz="15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дусмотрена </a:t>
            </a:r>
            <a:r>
              <a:rPr lang="ru-RU" sz="15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зможность финансирования ККР частными объединениями (садоводства, гаражные кооперативы, коттеджные поселки)</a:t>
            </a:r>
            <a:endParaRPr lang="ru-RU" sz="15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327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09" y="-7049"/>
            <a:ext cx="9144000" cy="539496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223657" y="97282"/>
            <a:ext cx="4922552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spc="-20" dirty="0"/>
              <a:t>ПРАВОУСТАНАВЛИВАЮЩИЕ</a:t>
            </a:r>
            <a:r>
              <a:rPr sz="2000" spc="-60" dirty="0"/>
              <a:t> </a:t>
            </a:r>
            <a:r>
              <a:rPr sz="2000" spc="-5" dirty="0" smtClean="0"/>
              <a:t>ДОКУМЕНТЫ</a:t>
            </a:r>
            <a:r>
              <a:rPr lang="ru-RU" sz="2000" spc="-5" dirty="0" smtClean="0"/>
              <a:t>  </a:t>
            </a:r>
            <a:endParaRPr sz="2000" dirty="0"/>
          </a:p>
        </p:txBody>
      </p:sp>
      <p:grpSp>
        <p:nvGrpSpPr>
          <p:cNvPr id="4" name="object 4"/>
          <p:cNvGrpSpPr/>
          <p:nvPr/>
        </p:nvGrpSpPr>
        <p:grpSpPr>
          <a:xfrm>
            <a:off x="448055" y="935736"/>
            <a:ext cx="8282940" cy="5408930"/>
            <a:chOff x="448055" y="935736"/>
            <a:chExt cx="8282940" cy="5408930"/>
          </a:xfrm>
        </p:grpSpPr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52855" y="935736"/>
              <a:ext cx="7442708" cy="41803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027420" y="2563368"/>
              <a:ext cx="2703576" cy="378104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204972" y="2563367"/>
              <a:ext cx="2624327" cy="3781044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48055" y="2563367"/>
              <a:ext cx="2567939" cy="37810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2661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-76200" y="271852"/>
            <a:ext cx="9220200" cy="830997"/>
          </a:xfrm>
        </p:spPr>
        <p:txBody>
          <a:bodyPr/>
          <a:lstStyle/>
          <a:p>
            <a:pPr algn="ctr"/>
            <a:r>
              <a:rPr lang="ru-RU" sz="2000" dirty="0">
                <a:solidFill>
                  <a:schemeClr val="accent5">
                    <a:lumMod val="75000"/>
                  </a:schemeClr>
                </a:solidFill>
              </a:rPr>
              <a:t>518-ФЗ от </a:t>
            </a:r>
            <a: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  <a:t>30.12.2020-ВЫЯВЛЕНИЕ ПРАВООБЛАДАТЕЛЕЙ РАНЕЕ </a:t>
            </a:r>
            <a:b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  <a:t>УЧТЕННЫХ ОБЪЕКТОВ СИЛАМИ МУНИЦИПАЛИТЕТОВ</a:t>
            </a:r>
            <a:b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</a:br>
            <a:endParaRPr lang="ru-RU" sz="20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42781" y="73461"/>
            <a:ext cx="8425826" cy="9534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79624" y="731206"/>
            <a:ext cx="8425826" cy="9534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05A40DA-14DF-2A47-A383-00DE293B7D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2368" b="-11453"/>
          <a:stretch/>
        </p:blipFill>
        <p:spPr>
          <a:xfrm>
            <a:off x="101391" y="211870"/>
            <a:ext cx="278233" cy="45496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 flipV="1">
            <a:off x="1" y="932326"/>
            <a:ext cx="35269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РАБОТАН ПРОЕКТ ДК </a:t>
            </a: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FB5A1-13CA-42AA-9B20-81B60DCDD20D}" type="slidenum">
              <a:rPr lang="ru-RU" smtClean="0"/>
              <a:pPr/>
              <a:t>31</a:t>
            </a:fld>
            <a:endParaRPr lang="ru-RU" dirty="0"/>
          </a:p>
        </p:txBody>
      </p:sp>
      <p:pic>
        <p:nvPicPr>
          <p:cNvPr id="9" name="Рисунок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90927"/>
            <a:ext cx="9056913" cy="5967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230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-76200" y="271852"/>
            <a:ext cx="9220200" cy="830997"/>
          </a:xfrm>
        </p:spPr>
        <p:txBody>
          <a:bodyPr/>
          <a:lstStyle/>
          <a:p>
            <a:pPr algn="ctr"/>
            <a:r>
              <a:rPr lang="ru-RU" sz="2000" dirty="0">
                <a:solidFill>
                  <a:schemeClr val="accent5">
                    <a:lumMod val="75000"/>
                  </a:schemeClr>
                </a:solidFill>
              </a:rPr>
              <a:t>518-ФЗ от </a:t>
            </a:r>
            <a: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  <a:t>30.12.2020-ВЫЯВЛЕНИЕ ПРАВООБЛАДАТЕЛЕЙ РАНЕЕ </a:t>
            </a:r>
            <a:b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  <a:t>УЧТЕННЫХ ОБЪЕКТОВ СИЛАМИ МУНИЦИПАЛИТЕТОВ</a:t>
            </a:r>
            <a:br>
              <a:rPr lang="ru-RU" sz="2000" dirty="0" smtClean="0">
                <a:solidFill>
                  <a:schemeClr val="accent5">
                    <a:lumMod val="75000"/>
                  </a:schemeClr>
                </a:solidFill>
              </a:rPr>
            </a:br>
            <a:endParaRPr lang="ru-RU" sz="20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442781" y="73461"/>
            <a:ext cx="8425826" cy="9534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79624" y="731206"/>
            <a:ext cx="8425826" cy="95348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05A40DA-14DF-2A47-A383-00DE293B7D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2368" b="-11453"/>
          <a:stretch/>
        </p:blipFill>
        <p:spPr>
          <a:xfrm>
            <a:off x="101391" y="211870"/>
            <a:ext cx="278233" cy="45496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FB5A1-13CA-42AA-9B20-81B60DCDD20D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63285" y="877144"/>
            <a:ext cx="8741229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b="1" i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апы мероприятий по выявлению правообладателей ранее учтенных объектов недвижимости.</a:t>
            </a:r>
            <a:endParaRPr lang="ru-RU" sz="20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1562203"/>
            <a:ext cx="9144000" cy="5340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первом этапе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полномоченные органы должны будут провести анализ сведений содержащихся в документах, находящихся в архивах</a:t>
            </a:r>
            <a:r>
              <a:rPr lang="ru-RU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втором этапе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дут готовиться и направляться  запросы:</a:t>
            </a:r>
            <a:endParaRPr lang="ru-RU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15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5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федеральный орган исполнительной власти в сфере внутренних дел для целей получения сведений о первичной выдаче и (или) замене документа, удостоверяющего личность гражданина РФ, а также об адресе регистрации такого лица по месту жительства;</a:t>
            </a:r>
            <a:endParaRPr lang="ru-RU" sz="165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15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5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орган, в системе обязательного пенсионного страхования, - для целей получения сведений о страховом номера индивидуального лицевого счета;</a:t>
            </a:r>
            <a:endParaRPr lang="ru-RU" sz="165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15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5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ЗАГС для целей получения сведений о возможной смерти правообладателя ранее учтенного объекта недвижимости;</a:t>
            </a:r>
            <a:endParaRPr lang="ru-RU" sz="165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15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5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отариусу, для целей получения сведений о лицах, у которых возникло право на ранее учтенный объект недвижимости в результате наследования</a:t>
            </a:r>
            <a:endParaRPr lang="ru-RU" sz="165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15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165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ФНС, для целей получения сведений о государственной регистрации в </a:t>
            </a:r>
            <a:r>
              <a:rPr lang="ru-RU" sz="165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ГРЮЛ </a:t>
            </a:r>
            <a:r>
              <a:rPr lang="ru-RU" sz="165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ЕРГИП.</a:t>
            </a:r>
            <a:endParaRPr lang="ru-RU" sz="165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8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-1598141" y="375980"/>
            <a:ext cx="1236960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блица 1. Изменения и дополнения, внесенные в</a:t>
            </a: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kumimoji="0" lang="ru-RU" sz="11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ормативные правовые акты, утвержденные на федеральном уровне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844718"/>
              </p:ext>
            </p:extLst>
          </p:nvPr>
        </p:nvGraphicFramePr>
        <p:xfrm>
          <a:off x="58722" y="713065"/>
          <a:ext cx="9085277" cy="65509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2311"/>
                <a:gridCol w="2711895"/>
                <a:gridCol w="761384"/>
                <a:gridCol w="5329687"/>
              </a:tblGrid>
              <a:tr h="3750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№ п/п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Наименование НПА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Раздел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Суть изменений и дополнений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89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1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Основы законодательства Российской Федерации о нотариате от 11 февраля 1993 года № </a:t>
                      </a:r>
                      <a:r>
                        <a:rPr lang="ru-RU" sz="1000" b="1" dirty="0" smtClean="0">
                          <a:effectLst/>
                        </a:rPr>
                        <a:t>4462-1</a:t>
                      </a:r>
                      <a:r>
                        <a:rPr lang="ru-RU" sz="1000" b="1" dirty="0">
                          <a:effectLst/>
                        </a:rPr>
                        <a:t> 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ч.4 ст.5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Выдаются по запросам уполномоченных органов сведения о наследниках, принявших наследство, в состав которого входит ранее учтенный объект недвижимости, в связи с проведением мероприятий по выявлению правообладателей ранее учтенных объектов недвижимости</a:t>
                      </a:r>
                      <a:r>
                        <a:rPr lang="ru-RU" sz="1000" b="1" dirty="0" smtClean="0">
                          <a:effectLst/>
                        </a:rPr>
                        <a:t>.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87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2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Федерального закона от 15 ноября 1997 года № 143-ФЗ "Об актах гражданского состояния"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ст.13.2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Выдаются по запросам уполномоченных органов сведения о государственной регистрации смерти, в связи с проведением мероприятий по выявлению правообладателей объектов недвижимости, которые считаются ранее </a:t>
                      </a:r>
                      <a:r>
                        <a:rPr lang="ru-RU" sz="1000" b="1" dirty="0" smtClean="0">
                          <a:effectLst/>
                        </a:rPr>
                        <a:t>учтенными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0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3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Федерального закона от 6 октября 2003 года № 131-ФЗ "Об общих принципах организации местного самоуправления в Российской Федерации"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000" b="1">
                          <a:effectLst/>
                        </a:rPr>
                        <a:t>Ч.1 ст. 14,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Ч.1 ст.16, ч. 1 ст.16.1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Добавлены </a:t>
                      </a:r>
                      <a:r>
                        <a:rPr lang="ru-RU" sz="1000" b="1" dirty="0" smtClean="0">
                          <a:effectLst/>
                        </a:rPr>
                        <a:t>полномочия*</a:t>
                      </a:r>
                      <a:r>
                        <a:rPr lang="ru-RU" sz="1000" b="1" dirty="0">
                          <a:effectLst/>
                        </a:rPr>
                        <a:t> по: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1)Проведению мероприятий по выявлению правообладателей объектов недвижимости, которые считаются ранее учтенными объектами недвижимости сведения о которых могут быть внесены в ЕГРН;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000" b="1" dirty="0">
                          <a:effectLst/>
                        </a:rPr>
                        <a:t>2)Принятию решений о выявлении правообладателей ранее учтенных объектов недвижимости;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3)Направлению сведений о правообладателях данных объектов недвижимости для внесения в ЕГРН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43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4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Федерального закона от 7 февраля 2011 года № 3-ФЗ "О полиции</a:t>
                      </a:r>
                      <a:r>
                        <a:rPr lang="ru-RU" sz="1000" b="1" dirty="0" smtClean="0">
                          <a:effectLst/>
                        </a:rPr>
                        <a:t>"</a:t>
                      </a:r>
                      <a:r>
                        <a:rPr lang="ru-RU" sz="1000" b="1" dirty="0">
                          <a:effectLst/>
                        </a:rPr>
                        <a:t> 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ч. 5.3. ст.17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Информация, содержащаяся в банках данных о гражданах, предоставляется уполномоченным органам, в связи с проведением ими мероприятий по выявлению правообладателей ранее учтенных объектов недвижимости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416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5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Федеральный закон от 13 июля 2015 года № 218-ФЗ "О государственной регистрации недвижимости"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000" b="1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 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000" b="1">
                          <a:effectLst/>
                        </a:rPr>
                        <a:t>ст. 8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000" b="1">
                          <a:effectLst/>
                        </a:rPr>
                        <a:t>ст.69</a:t>
                      </a:r>
                    </a:p>
                    <a:p>
                      <a:pPr>
                        <a:lnSpc>
                          <a:spcPct val="107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дополнена ст. 69.1</a:t>
                      </a:r>
                      <a:endParaRPr lang="ru-RU" sz="10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000" b="1" dirty="0">
                          <a:effectLst/>
                        </a:rPr>
                        <a:t>В кадастр вносятся сведения</a:t>
                      </a:r>
                      <a:r>
                        <a:rPr lang="ru-RU" sz="1000" b="1" dirty="0" smtClean="0">
                          <a:effectLst/>
                        </a:rPr>
                        <a:t>: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1200"/>
                        </a:spcAft>
                        <a:buFontTx/>
                        <a:buChar char="-"/>
                      </a:pPr>
                      <a:r>
                        <a:rPr lang="ru-RU" sz="1000" b="1" dirty="0" smtClean="0">
                          <a:effectLst/>
                        </a:rPr>
                        <a:t>об </a:t>
                      </a:r>
                      <a:r>
                        <a:rPr lang="ru-RU" sz="1000" b="1" dirty="0">
                          <a:effectLst/>
                        </a:rPr>
                        <a:t>указанных в документе, на основании которого в ЕГРН внесены сведения о ранее учтенном объекте недвижимости, вещных правах на объект недвижимости, а также о выявленном правообладателе данного объекта недвижимости</a:t>
                      </a:r>
                      <a:r>
                        <a:rPr lang="ru-RU" sz="1000" b="1" dirty="0" smtClean="0">
                          <a:effectLst/>
                        </a:rPr>
                        <a:t>.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1200"/>
                        </a:spcAft>
                        <a:buFontTx/>
                        <a:buChar char="-"/>
                      </a:pPr>
                      <a:r>
                        <a:rPr lang="ru-RU" sz="1000" b="1" dirty="0">
                          <a:effectLst/>
                        </a:rPr>
                        <a:t> </a:t>
                      </a:r>
                      <a:r>
                        <a:rPr lang="ru-RU" sz="1000" b="1" dirty="0" smtClean="0">
                          <a:effectLst/>
                        </a:rPr>
                        <a:t>Ст</a:t>
                      </a:r>
                      <a:r>
                        <a:rPr lang="ru-RU" sz="1000" b="1" dirty="0">
                          <a:effectLst/>
                        </a:rPr>
                        <a:t>. 69.1 содержит алгоритм проведения мероприятий по выявлению правообладателей и включению сведений о них в ЕГРН.</a:t>
                      </a:r>
                      <a:endParaRPr lang="ru-RU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4901" marR="34901" marT="52351" marB="523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066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://i.mycdn.me/i?r=AzEPZsRbOZEKgBhR0XGMT1Rk8n6Z7lIPMVcjAAaAOi0pD6aKTM5SRkZCeTgDn6uOyic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00" y="631424"/>
            <a:ext cx="6149647" cy="42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70599" y="142810"/>
            <a:ext cx="657154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4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НОВАЯ ЦЕЛЕВАЯ МОДЕЛЬ ДО 2025 ГОДА</a:t>
            </a:r>
            <a:endParaRPr lang="ru-RU" sz="24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Segoe UI Black" panose="020B0A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869" y="1015808"/>
            <a:ext cx="2281603" cy="1800200"/>
          </a:xfrm>
          <a:prstGeom prst="rect">
            <a:avLst/>
          </a:prstGeom>
        </p:spPr>
      </p:pic>
      <p:pic>
        <p:nvPicPr>
          <p:cNvPr id="9" name="Рисунок 8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xmlns="" id="{60615B8F-330A-2E43-B84F-08BBC5A6601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1404"/>
          <a:stretch/>
        </p:blipFill>
        <p:spPr>
          <a:xfrm>
            <a:off x="34289" y="122286"/>
            <a:ext cx="336312" cy="48218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70600" y="-15319"/>
            <a:ext cx="8773400" cy="11054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70600" y="500651"/>
            <a:ext cx="8773400" cy="963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B830F749-052A-A34F-B727-3EB78A5979D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1" y="6356354"/>
            <a:ext cx="9144000" cy="501648"/>
          </a:xfrm>
          <a:prstGeom prst="rect">
            <a:avLst/>
          </a:prstGeom>
        </p:spPr>
      </p:pic>
      <p:sp>
        <p:nvSpPr>
          <p:cNvPr id="16" name="Заголовок 1">
            <a:extLst>
              <a:ext uri="{FF2B5EF4-FFF2-40B4-BE49-F238E27FC236}">
                <a16:creationId xmlns:a16="http://schemas.microsoft.com/office/drawing/2014/main" xmlns="" id="{16580F84-F458-314B-8997-1CA50328FB4B}"/>
              </a:ext>
            </a:extLst>
          </p:cNvPr>
          <p:cNvSpPr txBox="1">
            <a:spLocks/>
          </p:cNvSpPr>
          <p:nvPr/>
        </p:nvSpPr>
        <p:spPr>
          <a:xfrm>
            <a:off x="14019" y="4682932"/>
            <a:ext cx="9063308" cy="15789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algn="ctr" defTabSz="733722"/>
            <a:r>
              <a:rPr lang="ru-RU" sz="2052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ением Правительства РФ от 29.04.2021 № 1139-р  </a:t>
            </a:r>
          </a:p>
          <a:p>
            <a:pPr algn="ctr" defTabSz="733722"/>
            <a:r>
              <a:rPr lang="ru-RU" sz="2052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ы изменения в распоряжение Правительства РФ от 31.01.2017 № 147-р «О целевых моделях упрощения процедур ведения бизнеса и повышения инвестиционной привлекательности субъектов Российской Федерации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732247" y="6424620"/>
            <a:ext cx="2262851" cy="365125"/>
          </a:xfrm>
        </p:spPr>
        <p:txBody>
          <a:bodyPr/>
          <a:lstStyle/>
          <a:p>
            <a:pPr algn="r"/>
            <a:fld id="{C426466A-A062-4EA8-869F-F58765B31057}" type="slidenum">
              <a:rPr lang="uk-UA" smtClean="0">
                <a:solidFill>
                  <a:schemeClr val="bg1"/>
                </a:solidFill>
              </a:rPr>
              <a:pPr algn="r"/>
              <a:t>34</a:t>
            </a:fld>
            <a:endParaRPr lang="uk-U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828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-393" y="6409460"/>
            <a:ext cx="9144393" cy="438931"/>
          </a:xfrm>
          <a:prstGeom prst="rect">
            <a:avLst/>
          </a:prstGeom>
        </p:spPr>
      </p:pic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xmlns="" id="{D9ACCDEE-9C7D-2C42-8147-2E6B9A8363C3}"/>
              </a:ext>
            </a:extLst>
          </p:cNvPr>
          <p:cNvSpPr/>
          <p:nvPr/>
        </p:nvSpPr>
        <p:spPr>
          <a:xfrm>
            <a:off x="5009762" y="2375658"/>
            <a:ext cx="3427195" cy="3481938"/>
          </a:xfrm>
          <a:prstGeom prst="roundRect">
            <a:avLst/>
          </a:prstGeom>
          <a:solidFill>
            <a:schemeClr val="bg1"/>
          </a:solidFill>
          <a:ln>
            <a:solidFill>
              <a:srgbClr val="339A84"/>
            </a:solidFill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/>
          </a:scene3d>
          <a:sp3d prstMaterial="metal">
            <a:bevelB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3" tIns="42572" rIns="85143" bIns="42572" rtlCol="0" anchor="ctr"/>
          <a:lstStyle/>
          <a:p>
            <a:pPr algn="ctr" defTabSz="691854"/>
            <a:endParaRPr lang="ru-RU" sz="1391" dirty="0">
              <a:solidFill>
                <a:srgbClr val="1075A0"/>
              </a:solidFill>
              <a:latin typeface="Segoe Print" panose="02000800000000000000" pitchFamily="2" charset="0"/>
              <a:ea typeface="Segoe UI Symbol" panose="020B0502040204020203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16580F84-F458-314B-8997-1CA50328FB4B}"/>
              </a:ext>
            </a:extLst>
          </p:cNvPr>
          <p:cNvSpPr txBox="1">
            <a:spLocks/>
          </p:cNvSpPr>
          <p:nvPr/>
        </p:nvSpPr>
        <p:spPr>
          <a:xfrm>
            <a:off x="610582" y="160275"/>
            <a:ext cx="8310405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691854"/>
            <a:r>
              <a:rPr lang="ru-RU" sz="16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РАСПОРЯЖЕНИЕМ ПРАВИТЕЛЬСТВА РФ ОТ 29.04.2021 № 1139-Р  </a:t>
            </a:r>
          </a:p>
          <a:p>
            <a:pPr defTabSz="691854"/>
            <a:r>
              <a:rPr lang="ru-RU" sz="16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ВНЕСЕНЫ ИЗМЕНЕНИЯ В РАСПОРЯЖЕНИЕ ПРАВИТЕЛЬСТВА РФ ОТ 31.01.2017 № 147-Р «О ЦЕЛЕВЫХ МОДЕЛЯХ УПРОЩЕНИЯ ПРОЦЕДУР ВЕДЕНИЯ БИЗНЕСА И ПОВЫШЕНИЯ ИНВЕСТИЦИОННОЙ ПРИВЛЕКАТЕЛЬНОСТИ СУБЪЕКТОВ РОССИЙСКОЙ ФЕДЕРАЦИИ»</a:t>
            </a:r>
            <a:endParaRPr lang="ru-RU" sz="16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Segoe UI Black" panose="020B0A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xmlns="" id="{CDCB88B7-A489-004A-AE21-3D9D26BCF233}"/>
              </a:ext>
            </a:extLst>
          </p:cNvPr>
          <p:cNvSpPr/>
          <p:nvPr/>
        </p:nvSpPr>
        <p:spPr>
          <a:xfrm>
            <a:off x="838307" y="2375659"/>
            <a:ext cx="3142547" cy="1653961"/>
          </a:xfrm>
          <a:prstGeom prst="roundRect">
            <a:avLst/>
          </a:prstGeom>
          <a:solidFill>
            <a:schemeClr val="bg1"/>
          </a:solidFill>
          <a:ln>
            <a:solidFill>
              <a:srgbClr val="34A290"/>
            </a:solidFill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3" tIns="42572" rIns="85143" bIns="42572" rtlCol="0" anchor="ctr"/>
          <a:lstStyle/>
          <a:p>
            <a:pPr algn="ctr" defTabSz="691854"/>
            <a:endParaRPr lang="ru-RU" sz="1391" dirty="0">
              <a:solidFill>
                <a:srgbClr val="1075A0"/>
              </a:solidFill>
              <a:latin typeface="Segoe Print" panose="02000800000000000000" pitchFamily="2" charset="0"/>
              <a:ea typeface="Segoe UI Symbol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6A3465DC-D1E4-DA4C-981C-7F5F390EFD67}"/>
              </a:ext>
            </a:extLst>
          </p:cNvPr>
          <p:cNvSpPr txBox="1"/>
          <p:nvPr/>
        </p:nvSpPr>
        <p:spPr>
          <a:xfrm>
            <a:off x="838306" y="2375661"/>
            <a:ext cx="2975764" cy="2208801"/>
          </a:xfrm>
          <a:prstGeom prst="rect">
            <a:avLst/>
          </a:prstGeom>
          <a:noFill/>
        </p:spPr>
        <p:txBody>
          <a:bodyPr wrap="square" lIns="85143" tIns="42572" rIns="85143" bIns="42572" rtlCol="0">
            <a:spAutoFit/>
          </a:bodyPr>
          <a:lstStyle/>
          <a:p>
            <a:pPr algn="ctr" defTabSz="691854"/>
            <a:r>
              <a:rPr lang="ru-RU" sz="1210" b="1" dirty="0">
                <a:solidFill>
                  <a:srgbClr val="0C7FA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ЕГИСТРАЦИЯ ПРАВА СОБСТВЕННОСТИ НА ЗЕМЕЛЬНЫЕ УЧАСТКИ И ОБЪЕКТЫ НЕДВИЖИМОГО ИМУЩЕСТВА» </a:t>
            </a:r>
          </a:p>
          <a:p>
            <a:pPr algn="ctr" defTabSz="691854"/>
            <a:endParaRPr lang="ru-RU" sz="1452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691854"/>
            <a:r>
              <a:rPr lang="ru-RU" sz="1210" dirty="0">
                <a:solidFill>
                  <a:srgbClr val="339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казателей </a:t>
            </a:r>
            <a:r>
              <a:rPr lang="ru-RU" sz="1089" b="1" dirty="0">
                <a:solidFill>
                  <a:srgbClr val="339A8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- </a:t>
            </a:r>
            <a:r>
              <a:rPr lang="ru-RU" sz="1452" b="1" dirty="0">
                <a:solidFill>
                  <a:srgbClr val="339A8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2</a:t>
            </a:r>
          </a:p>
          <a:p>
            <a:pPr algn="ctr" defTabSz="691854"/>
            <a:endParaRPr lang="ru-RU" sz="1210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691854"/>
            <a:endParaRPr lang="ru-RU" sz="1210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691854"/>
            <a:endParaRPr lang="ru-RU" sz="1210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7" name="Номер слайда 2"/>
          <p:cNvSpPr txBox="1">
            <a:spLocks/>
          </p:cNvSpPr>
          <p:nvPr/>
        </p:nvSpPr>
        <p:spPr>
          <a:xfrm>
            <a:off x="3873629" y="5796636"/>
            <a:ext cx="2103120" cy="261177"/>
          </a:xfrm>
          <a:prstGeom prst="rect">
            <a:avLst/>
          </a:prstGeom>
        </p:spPr>
        <p:txBody>
          <a:bodyPr lIns="85143" tIns="42572" rIns="85143" bIns="42572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 sz="1089" b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2BC8359A-348B-6A4A-BB8B-E2A6130C2676}"/>
              </a:ext>
            </a:extLst>
          </p:cNvPr>
          <p:cNvSpPr txBox="1"/>
          <p:nvPr/>
        </p:nvSpPr>
        <p:spPr>
          <a:xfrm>
            <a:off x="1316711" y="1704422"/>
            <a:ext cx="2212072" cy="781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9373"/>
            <a:r>
              <a:rPr lang="ru-RU" sz="1452" b="1" dirty="0">
                <a:solidFill>
                  <a:srgbClr val="34A29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2017 – 2020 </a:t>
            </a:r>
            <a:r>
              <a:rPr lang="ru-RU" sz="1452" b="1" dirty="0" smtClean="0">
                <a:solidFill>
                  <a:srgbClr val="34A29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гг. </a:t>
            </a:r>
            <a:endParaRPr lang="ru-RU" sz="1452" b="1" dirty="0">
              <a:solidFill>
                <a:srgbClr val="34A290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449373"/>
            <a:r>
              <a:rPr lang="ru-RU" sz="1452" b="1" dirty="0">
                <a:solidFill>
                  <a:srgbClr val="34A29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2 целевые модели</a:t>
            </a:r>
          </a:p>
          <a:p>
            <a:pPr algn="ctr" defTabSz="449373"/>
            <a:endParaRPr lang="ru-RU" sz="1572" b="1" dirty="0">
              <a:solidFill>
                <a:srgbClr val="349A84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35" name="Скругленный прямоугольник 34">
            <a:extLst>
              <a:ext uri="{FF2B5EF4-FFF2-40B4-BE49-F238E27FC236}">
                <a16:creationId xmlns:a16="http://schemas.microsoft.com/office/drawing/2014/main" xmlns="" id="{CDCB88B7-A489-004A-AE21-3D9D26BCF233}"/>
              </a:ext>
            </a:extLst>
          </p:cNvPr>
          <p:cNvSpPr/>
          <p:nvPr/>
        </p:nvSpPr>
        <p:spPr>
          <a:xfrm>
            <a:off x="838307" y="4203637"/>
            <a:ext cx="3142547" cy="1653961"/>
          </a:xfrm>
          <a:prstGeom prst="roundRect">
            <a:avLst/>
          </a:prstGeom>
          <a:solidFill>
            <a:schemeClr val="bg1"/>
          </a:solidFill>
          <a:ln>
            <a:solidFill>
              <a:srgbClr val="34A290"/>
            </a:solidFill>
          </a:ln>
          <a:effectLst>
            <a:outerShdw blurRad="1397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3" tIns="42572" rIns="85143" bIns="42572" rtlCol="0" anchor="ctr"/>
          <a:lstStyle/>
          <a:p>
            <a:pPr algn="ctr" defTabSz="691854"/>
            <a:endParaRPr lang="ru-RU" sz="1391" dirty="0">
              <a:solidFill>
                <a:srgbClr val="1075A0"/>
              </a:solidFill>
              <a:latin typeface="Segoe Print" panose="02000800000000000000" pitchFamily="2" charset="0"/>
              <a:ea typeface="Segoe UI Symbol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6A3465DC-D1E4-DA4C-981C-7F5F390EFD67}"/>
              </a:ext>
            </a:extLst>
          </p:cNvPr>
          <p:cNvSpPr txBox="1"/>
          <p:nvPr/>
        </p:nvSpPr>
        <p:spPr>
          <a:xfrm>
            <a:off x="934866" y="4310822"/>
            <a:ext cx="2975764" cy="1594337"/>
          </a:xfrm>
          <a:prstGeom prst="rect">
            <a:avLst/>
          </a:prstGeom>
          <a:noFill/>
        </p:spPr>
        <p:txBody>
          <a:bodyPr wrap="square" lIns="85143" tIns="42572" rIns="85143" bIns="42572" rtlCol="0">
            <a:spAutoFit/>
          </a:bodyPr>
          <a:lstStyle/>
          <a:p>
            <a:pPr algn="ctr" defTabSz="691854"/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СТАНОВКА НА КАДАСТРОВЫЙ УЧЕТ ЗЕМЕЛЬНЫХ УЧАСТКОВ </a:t>
            </a:r>
            <a:b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БЪЕКТОВ НЕДВИЖИМОСТИ» </a:t>
            </a:r>
          </a:p>
          <a:p>
            <a:pPr algn="ctr" defTabSz="691854"/>
            <a:endParaRPr lang="ru-RU" sz="1089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691854"/>
            <a:r>
              <a:rPr lang="ru-RU" sz="1210" dirty="0">
                <a:solidFill>
                  <a:srgbClr val="339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казателей </a:t>
            </a:r>
            <a:r>
              <a:rPr lang="ru-RU" sz="1089" b="1" dirty="0">
                <a:solidFill>
                  <a:srgbClr val="339A8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- </a:t>
            </a:r>
            <a:r>
              <a:rPr lang="ru-RU" sz="1452" b="1" dirty="0">
                <a:solidFill>
                  <a:srgbClr val="339A8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2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2BC8359A-348B-6A4A-BB8B-E2A6130C2676}"/>
              </a:ext>
            </a:extLst>
          </p:cNvPr>
          <p:cNvSpPr txBox="1"/>
          <p:nvPr/>
        </p:nvSpPr>
        <p:spPr>
          <a:xfrm>
            <a:off x="5235478" y="1722558"/>
            <a:ext cx="2815885" cy="539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9373"/>
            <a:r>
              <a:rPr lang="ru-RU" sz="1452" b="1" dirty="0">
                <a:solidFill>
                  <a:srgbClr val="34A29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2021 – 2024 </a:t>
            </a:r>
            <a:r>
              <a:rPr lang="ru-RU" sz="1452" b="1" dirty="0" smtClean="0">
                <a:solidFill>
                  <a:srgbClr val="34A29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гг.</a:t>
            </a:r>
            <a:endParaRPr lang="ru-RU" sz="1452" b="1" dirty="0">
              <a:solidFill>
                <a:srgbClr val="34A290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449373"/>
            <a:r>
              <a:rPr lang="ru-RU" sz="1452" b="1" dirty="0">
                <a:solidFill>
                  <a:srgbClr val="34A29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Единая целевая модель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6A3465DC-D1E4-DA4C-981C-7F5F390EFD67}"/>
              </a:ext>
            </a:extLst>
          </p:cNvPr>
          <p:cNvSpPr txBox="1"/>
          <p:nvPr/>
        </p:nvSpPr>
        <p:spPr>
          <a:xfrm>
            <a:off x="5235476" y="2733438"/>
            <a:ext cx="2975764" cy="2767479"/>
          </a:xfrm>
          <a:prstGeom prst="rect">
            <a:avLst/>
          </a:prstGeom>
          <a:noFill/>
        </p:spPr>
        <p:txBody>
          <a:bodyPr wrap="square" lIns="85143" tIns="42572" rIns="85143" bIns="42572" rtlCol="0">
            <a:spAutoFit/>
          </a:bodyPr>
          <a:lstStyle/>
          <a:p>
            <a:pPr algn="ctr" defTabSz="691854"/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ДГОТОВКА ДОКУМЕНТОВ </a:t>
            </a:r>
            <a:b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СУЩЕСТВЛЕНИЕ ГОСУДАРСТВЕННОГО КАДАСТРОВОГО УЧЕТА </a:t>
            </a:r>
            <a:b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(ИЛИ) ГОСУДАРСТВЕННОЙ РЕГИСТРАЦИИ ПРАВ СОБСТВЕННОСТИ </a:t>
            </a:r>
            <a:b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52" dirty="0">
                <a:solidFill>
                  <a:srgbClr val="3737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БЪЕКТЫ НЕДВИЖИМОГО ИМУЩЕСТВА» </a:t>
            </a:r>
          </a:p>
          <a:p>
            <a:pPr algn="ctr" defTabSz="691854"/>
            <a:endParaRPr lang="ru-RU" sz="1452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691854"/>
            <a:r>
              <a:rPr lang="ru-RU" sz="1210" dirty="0">
                <a:solidFill>
                  <a:srgbClr val="339A8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показателей </a:t>
            </a:r>
            <a:r>
              <a:rPr lang="ru-RU" sz="1089" b="1" dirty="0">
                <a:solidFill>
                  <a:srgbClr val="339A8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- </a:t>
            </a:r>
            <a:r>
              <a:rPr lang="ru-RU" sz="1452" b="1" dirty="0">
                <a:solidFill>
                  <a:srgbClr val="339A84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30</a:t>
            </a:r>
          </a:p>
          <a:p>
            <a:pPr algn="ctr" defTabSz="691854"/>
            <a:endParaRPr lang="ru-RU" sz="1452" b="1" dirty="0">
              <a:solidFill>
                <a:srgbClr val="0C7FA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3980854" y="2936170"/>
            <a:ext cx="1023301" cy="2394960"/>
          </a:xfrm>
          <a:prstGeom prst="rightBrace">
            <a:avLst>
              <a:gd name="adj1" fmla="val 8333"/>
              <a:gd name="adj2" fmla="val 50656"/>
            </a:avLst>
          </a:prstGeom>
          <a:ln w="9525" cap="rnd">
            <a:solidFill>
              <a:srgbClr val="34A290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89"/>
          </a:p>
        </p:txBody>
      </p:sp>
      <p:pic>
        <p:nvPicPr>
          <p:cNvPr id="15" name="Рисунок 1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xmlns="" id="{60615B8F-330A-2E43-B84F-08BBC5A6601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1404"/>
          <a:stretch/>
        </p:blipFill>
        <p:spPr>
          <a:xfrm>
            <a:off x="237696" y="160275"/>
            <a:ext cx="317102" cy="45464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610579" y="16880"/>
            <a:ext cx="8471148" cy="11521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610579" y="1314973"/>
            <a:ext cx="8471148" cy="9779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817009" y="646977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4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77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627" y="2757137"/>
            <a:ext cx="2915520" cy="1497600"/>
          </a:xfrm>
        </p:spPr>
        <p:txBody>
          <a:bodyPr/>
          <a:lstStyle/>
          <a:p>
            <a:pPr algn="ctr"/>
            <a:r>
              <a:rPr lang="ru-RU" sz="3600" b="1" dirty="0">
                <a:solidFill>
                  <a:schemeClr val="bg1"/>
                </a:solidFill>
              </a:rPr>
              <a:t>Показатели</a:t>
            </a:r>
            <a:r>
              <a:rPr lang="ru-RU" dirty="0"/>
              <a:t> 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2996801" y="318399"/>
            <a:ext cx="3240737" cy="3350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894084"/>
            <a:r>
              <a:rPr lang="ru-RU" sz="2177" kern="0" dirty="0">
                <a:solidFill>
                  <a:srgbClr val="1075A0"/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БАЗОВЫЕ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621360" y="741729"/>
            <a:ext cx="4829814" cy="464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buClr>
                <a:schemeClr val="accent2">
                  <a:lumMod val="75000"/>
                </a:schemeClr>
              </a:buClr>
            </a:pP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олнение ЕГРН 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едениями о границах административно-территориальных образований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621361" y="1243415"/>
            <a:ext cx="5165405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о приема и сканирования 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 в МФЦ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621358" y="2032377"/>
            <a:ext cx="5032204" cy="1414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сроков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и прав и кадастрового учета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и и утверждения схемы расположения земельного участка на кадастровом плане территории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воения адреса объекту адресации 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и межевого и технического планов</a:t>
            </a: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3089282" y="3511144"/>
            <a:ext cx="7487627" cy="3350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894084"/>
            <a:r>
              <a:rPr lang="ru-RU" sz="2177" kern="0" dirty="0">
                <a:solidFill>
                  <a:srgbClr val="34A290"/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НОВЫЕ, в том числе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582415" y="5270861"/>
            <a:ext cx="5593012" cy="1549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ие в ЕГРН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ведений: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местоположении границ </a:t>
            </a: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 затопления и подтопления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округах санитарной (горно-санитарной) охраны лечебно-оздоровительных местностей, курортов и природных лечебных ресурсов</a:t>
            </a:r>
          </a:p>
          <a:p>
            <a:pPr marL="207403" indent="-207403" defTabSz="691854">
              <a:spcBef>
                <a:spcPts val="363"/>
              </a:spcBef>
              <a:buClr>
                <a:srgbClr val="34A290"/>
              </a:buClr>
              <a:buFont typeface="Arial" panose="020B0604020202020204" pitchFamily="34" charset="0"/>
              <a:buChar char="•"/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объектах недвижимости, необходимых для определения их </a:t>
            </a: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астровой стоимо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96550" y="4914513"/>
            <a:ext cx="6272023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</a:t>
            </a: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ых услуг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казываемых юридическим лицам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596550" y="4483251"/>
            <a:ext cx="5929491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ение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авообладателей ранее учтенных объектов недвижимост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621361" y="1648569"/>
            <a:ext cx="5165405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</a:t>
            </a: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ых услуг</a:t>
            </a: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оказываемых органам власти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9E7115F1-937A-7844-9EBC-F1610F50C0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35741" y="1616622"/>
            <a:ext cx="342915" cy="34291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596549" y="3976199"/>
            <a:ext cx="5165405" cy="278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1854">
              <a:spcBef>
                <a:spcPts val="363"/>
              </a:spcBef>
              <a:buClr>
                <a:schemeClr val="accent2">
                  <a:lumMod val="75000"/>
                </a:schemeClr>
              </a:buClr>
            </a:pPr>
            <a:r>
              <a:rPr lang="ru-RU" sz="12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</a:t>
            </a:r>
            <a:r>
              <a:rPr lang="ru-RU" sz="121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ой ипотеки</a:t>
            </a:r>
          </a:p>
        </p:txBody>
      </p:sp>
      <p:sp>
        <p:nvSpPr>
          <p:cNvPr id="17" name="object 2"/>
          <p:cNvSpPr/>
          <p:nvPr/>
        </p:nvSpPr>
        <p:spPr>
          <a:xfrm>
            <a:off x="3088498" y="3917686"/>
            <a:ext cx="314946" cy="34039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650201">
              <a:defRPr/>
            </a:pPr>
            <a:endParaRPr sz="127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9E7115F1-937A-7844-9EBC-F1610F50C0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88501" y="4885627"/>
            <a:ext cx="342915" cy="34291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1770A81E-3FD4-0043-AC3C-53F9489007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090618" y="4423479"/>
            <a:ext cx="342915" cy="342915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F480DA51-4F08-0345-B4D5-52DC876D6E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3566" y="2049238"/>
            <a:ext cx="395088" cy="395088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D76AFF39-CF1B-7E41-9F0A-81FEC17D17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7109" y="775784"/>
            <a:ext cx="355121" cy="305569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D76AFF39-CF1B-7E41-9F0A-81FEC17D178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8504" y="5393941"/>
            <a:ext cx="355121" cy="30556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6F27CAA1-2136-3442-A85F-361F1ECD82D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63951" y="1157883"/>
            <a:ext cx="243850" cy="342915"/>
          </a:xfrm>
          <a:prstGeom prst="rect">
            <a:avLst/>
          </a:prstGeom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3FF5920D-BB79-D044-88BF-F3E6FD7D00F4}"/>
              </a:ext>
            </a:extLst>
          </p:cNvPr>
          <p:cNvSpPr/>
          <p:nvPr/>
        </p:nvSpPr>
        <p:spPr>
          <a:xfrm>
            <a:off x="172980" y="2992110"/>
            <a:ext cx="2672816" cy="930967"/>
          </a:xfrm>
          <a:prstGeom prst="round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302" tIns="27651" rIns="55302" bIns="2765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726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518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4526345" y="1147721"/>
            <a:ext cx="4349425" cy="5600987"/>
          </a:xfrm>
          <a:prstGeom prst="roundRect">
            <a:avLst>
              <a:gd name="adj" fmla="val 2775"/>
            </a:avLst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905" dirty="0"/>
              <a:t> 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xmlns="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269246" y="1147722"/>
            <a:ext cx="4092717" cy="5600987"/>
          </a:xfrm>
          <a:prstGeom prst="roundRect">
            <a:avLst>
              <a:gd name="adj" fmla="val 2775"/>
            </a:avLst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70" tIns="48385" rIns="96770" bIns="483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905" dirty="0"/>
              <a:t> </a:t>
            </a:r>
          </a:p>
        </p:txBody>
      </p:sp>
      <p:sp>
        <p:nvSpPr>
          <p:cNvPr id="11" name="Скругленный прямоугольник 58">
            <a:extLst>
              <a:ext uri="{FF2B5EF4-FFF2-40B4-BE49-F238E27FC236}">
                <a16:creationId xmlns:a16="http://schemas.microsoft.com/office/drawing/2014/main" xmlns="" id="{767E114E-A544-6E47-B29D-0D49AA3B4230}"/>
              </a:ext>
            </a:extLst>
          </p:cNvPr>
          <p:cNvSpPr/>
          <p:nvPr/>
        </p:nvSpPr>
        <p:spPr>
          <a:xfrm>
            <a:off x="444923" y="972082"/>
            <a:ext cx="2917889" cy="299556"/>
          </a:xfrm>
          <a:prstGeom prst="roundRect">
            <a:avLst>
              <a:gd name="adj" fmla="val 50000"/>
            </a:avLst>
          </a:prstGeom>
          <a:solidFill>
            <a:srgbClr val="0272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3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ицы</a:t>
            </a:r>
          </a:p>
        </p:txBody>
      </p:sp>
      <p:sp>
        <p:nvSpPr>
          <p:cNvPr id="12" name="Скругленный прямоугольник 58">
            <a:extLst>
              <a:ext uri="{FF2B5EF4-FFF2-40B4-BE49-F238E27FC236}">
                <a16:creationId xmlns:a16="http://schemas.microsoft.com/office/drawing/2014/main" xmlns="" id="{767E114E-A544-6E47-B29D-0D49AA3B4230}"/>
              </a:ext>
            </a:extLst>
          </p:cNvPr>
          <p:cNvSpPr/>
          <p:nvPr/>
        </p:nvSpPr>
        <p:spPr>
          <a:xfrm>
            <a:off x="5127418" y="967109"/>
            <a:ext cx="2917889" cy="304529"/>
          </a:xfrm>
          <a:prstGeom prst="roundRect">
            <a:avLst>
              <a:gd name="adj" fmla="val 50000"/>
            </a:avLst>
          </a:prstGeom>
          <a:solidFill>
            <a:srgbClr val="0272AC"/>
          </a:solidFill>
          <a:ln>
            <a:solidFill>
              <a:srgbClr val="0092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3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мельные участки</a:t>
            </a:r>
          </a:p>
        </p:txBody>
      </p:sp>
      <p:sp>
        <p:nvSpPr>
          <p:cNvPr id="13" name="object 2">
            <a:extLst>
              <a:ext uri="{FF2B5EF4-FFF2-40B4-BE49-F238E27FC236}">
                <a16:creationId xmlns:a16="http://schemas.microsoft.com/office/drawing/2014/main" xmlns="" id="{B4C40117-59AC-4046-8AF7-DB5BE3B599B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59248" y="59217"/>
            <a:ext cx="8384752" cy="681875"/>
          </a:xfrm>
          <a:prstGeom prst="rect">
            <a:avLst/>
          </a:prstGeom>
        </p:spPr>
        <p:txBody>
          <a:bodyPr vert="horz" wrap="square" lIns="0" tIns="16912" rIns="0" bIns="0" rtlCol="0" anchor="ctr" anchorCtr="0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НАПОЛНЕНИЕ ЕГРН СВЕДЕНИЯМИ </a:t>
            </a:r>
            <a:r>
              <a:rPr lang="ru-RU" sz="2400" dirty="0" smtClean="0"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В </a:t>
            </a:r>
            <a:br>
              <a:rPr lang="ru-RU" sz="2400" dirty="0" smtClean="0"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</a:br>
            <a:r>
              <a:rPr lang="ru-RU" sz="2400" dirty="0" smtClean="0"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ЛЕНИНГРАДСКОЙ </a:t>
            </a:r>
            <a:r>
              <a:rPr lang="ru-RU" sz="2400" dirty="0"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ОБЛАСТИ</a:t>
            </a:r>
            <a:endParaRPr lang="ru-RU" sz="1800" i="1" u="sng" dirty="0"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005A40DA-14DF-2A47-A383-00DE293B7D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2368" b="-11453"/>
          <a:stretch/>
        </p:blipFill>
        <p:spPr>
          <a:xfrm>
            <a:off x="240508" y="163544"/>
            <a:ext cx="278233" cy="45496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38711" y="708592"/>
            <a:ext cx="8405288" cy="95348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38711" y="-21887"/>
            <a:ext cx="8425826" cy="9534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521081" y="1509442"/>
            <a:ext cx="1571810" cy="31516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убъектов РФ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2463654" y="1480288"/>
            <a:ext cx="1950746" cy="49521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униципальных образований</a:t>
            </a:r>
          </a:p>
        </p:txBody>
      </p:sp>
      <p:sp>
        <p:nvSpPr>
          <p:cNvPr id="46" name="Кольцо 45"/>
          <p:cNvSpPr/>
          <p:nvPr/>
        </p:nvSpPr>
        <p:spPr>
          <a:xfrm>
            <a:off x="543613" y="2018560"/>
            <a:ext cx="1714965" cy="1600399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47" name="Кольцо 46"/>
          <p:cNvSpPr/>
          <p:nvPr/>
        </p:nvSpPr>
        <p:spPr>
          <a:xfrm>
            <a:off x="2559992" y="2018560"/>
            <a:ext cx="1659876" cy="1618334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48" name="Кольцо 47"/>
          <p:cNvSpPr/>
          <p:nvPr/>
        </p:nvSpPr>
        <p:spPr>
          <a:xfrm>
            <a:off x="507992" y="4591049"/>
            <a:ext cx="1759254" cy="1746584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49" name="Кольцо 48"/>
          <p:cNvSpPr/>
          <p:nvPr/>
        </p:nvSpPr>
        <p:spPr>
          <a:xfrm>
            <a:off x="2492304" y="4726113"/>
            <a:ext cx="1695596" cy="1706393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44483" y="3948744"/>
            <a:ext cx="1571810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селенных пункто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591530" y="3939334"/>
            <a:ext cx="1571810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ерриториальных зон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Кольцо 66"/>
          <p:cNvSpPr/>
          <p:nvPr/>
        </p:nvSpPr>
        <p:spPr>
          <a:xfrm>
            <a:off x="4760191" y="2155352"/>
            <a:ext cx="943464" cy="882007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68" name="Кольцо 67"/>
          <p:cNvSpPr/>
          <p:nvPr/>
        </p:nvSpPr>
        <p:spPr>
          <a:xfrm>
            <a:off x="6229325" y="2140434"/>
            <a:ext cx="943464" cy="896925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69" name="Кольцо 68"/>
          <p:cNvSpPr/>
          <p:nvPr/>
        </p:nvSpPr>
        <p:spPr>
          <a:xfrm>
            <a:off x="7647715" y="2132656"/>
            <a:ext cx="943464" cy="882007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439630" y="1368224"/>
            <a:ext cx="1696455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Без зарегистрированных пра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5855425" y="1354685"/>
            <a:ext cx="1696455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ует разрешенное использование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7271219" y="1359793"/>
            <a:ext cx="169645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ует категория земель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3" name="Прямая соединительная линия 72"/>
          <p:cNvCxnSpPr>
            <a:cxnSpLocks/>
          </p:cNvCxnSpPr>
          <p:nvPr/>
        </p:nvCxnSpPr>
        <p:spPr>
          <a:xfrm flipV="1">
            <a:off x="4526344" y="3944288"/>
            <a:ext cx="4310941" cy="39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Скругленный прямоугольник 58">
            <a:extLst>
              <a:ext uri="{FF2B5EF4-FFF2-40B4-BE49-F238E27FC236}">
                <a16:creationId xmlns:a16="http://schemas.microsoft.com/office/drawing/2014/main" xmlns="" id="{767E114E-A544-6E47-B29D-0D49AA3B4230}"/>
              </a:ext>
            </a:extLst>
          </p:cNvPr>
          <p:cNvSpPr/>
          <p:nvPr/>
        </p:nvSpPr>
        <p:spPr>
          <a:xfrm>
            <a:off x="5324677" y="3682032"/>
            <a:ext cx="3212648" cy="310591"/>
          </a:xfrm>
          <a:prstGeom prst="roundRect">
            <a:avLst>
              <a:gd name="adj" fmla="val 50000"/>
            </a:avLst>
          </a:prstGeom>
          <a:solidFill>
            <a:srgbClr val="0272AC"/>
          </a:solidFill>
          <a:ln>
            <a:solidFill>
              <a:srgbClr val="0092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3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ые объекты недвижимост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4789169" y="4223072"/>
            <a:ext cx="1696455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0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Без зарегистрированных пра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Кольцо 78"/>
          <p:cNvSpPr/>
          <p:nvPr/>
        </p:nvSpPr>
        <p:spPr>
          <a:xfrm>
            <a:off x="4826804" y="4910011"/>
            <a:ext cx="1675917" cy="1572434"/>
          </a:xfrm>
          <a:prstGeom prst="donut">
            <a:avLst>
              <a:gd name="adj" fmla="val 11389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82" name="Арка 81"/>
          <p:cNvSpPr/>
          <p:nvPr/>
        </p:nvSpPr>
        <p:spPr>
          <a:xfrm rot="16200000">
            <a:off x="573740" y="1942374"/>
            <a:ext cx="1669297" cy="1813657"/>
          </a:xfrm>
          <a:prstGeom prst="blockArc">
            <a:avLst>
              <a:gd name="adj1" fmla="val 10800000"/>
              <a:gd name="adj2" fmla="val 19016393"/>
              <a:gd name="adj3" fmla="val 14440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974239" y="2310100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40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788387" y="2820739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2 шт.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85" name="Арка 84"/>
          <p:cNvSpPr/>
          <p:nvPr/>
        </p:nvSpPr>
        <p:spPr>
          <a:xfrm rot="16200000">
            <a:off x="2575627" y="1927296"/>
            <a:ext cx="1651290" cy="1774113"/>
          </a:xfrm>
          <a:prstGeom prst="blockArc">
            <a:avLst>
              <a:gd name="adj1" fmla="val 10800000"/>
              <a:gd name="adj2" fmla="val 9402887"/>
              <a:gd name="adj3" fmla="val 13313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3070003" y="2355724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98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855986" y="2839749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200 шт.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88" name="Арка 87"/>
          <p:cNvSpPr/>
          <p:nvPr/>
        </p:nvSpPr>
        <p:spPr>
          <a:xfrm rot="16200000">
            <a:off x="462422" y="4533776"/>
            <a:ext cx="1818012" cy="1906813"/>
          </a:xfrm>
          <a:prstGeom prst="blockArc">
            <a:avLst>
              <a:gd name="adj1" fmla="val 10800000"/>
              <a:gd name="adj2" fmla="val 6934812"/>
              <a:gd name="adj3" fmla="val 14613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935925" y="5097850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86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18054" y="5569324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2 525 шт.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91" name="Арка 90"/>
          <p:cNvSpPr/>
          <p:nvPr/>
        </p:nvSpPr>
        <p:spPr>
          <a:xfrm rot="16200000">
            <a:off x="2428343" y="4625201"/>
            <a:ext cx="1838905" cy="1875580"/>
          </a:xfrm>
          <a:prstGeom prst="blockArc">
            <a:avLst>
              <a:gd name="adj1" fmla="val 10800000"/>
              <a:gd name="adj2" fmla="val 8487709"/>
              <a:gd name="adj3" fmla="val 17090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855986" y="5633456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3513 шт.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2950117" y="5144864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94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4824214" y="2225740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11,8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4676675" y="2537829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163 тыс.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7559357" y="2499377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13 277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118016" y="2551801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2 634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112178" y="5762599"/>
            <a:ext cx="1166082" cy="3528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93" dirty="0" smtClean="0">
                <a:latin typeface="Arial Narrow" panose="020B0606020202030204" pitchFamily="34" charset="0"/>
              </a:rPr>
              <a:t>353 тыс.</a:t>
            </a:r>
            <a:endParaRPr lang="ru-RU" sz="1693" dirty="0">
              <a:latin typeface="Arial Narrow" panose="020B0606020202030204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240903" y="5260438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17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1" name="Арка 100"/>
          <p:cNvSpPr/>
          <p:nvPr/>
        </p:nvSpPr>
        <p:spPr>
          <a:xfrm rot="16200000">
            <a:off x="4832371" y="4800203"/>
            <a:ext cx="1669297" cy="1813657"/>
          </a:xfrm>
          <a:prstGeom prst="blockArc">
            <a:avLst>
              <a:gd name="adj1" fmla="val 10800000"/>
              <a:gd name="adj2" fmla="val 14470783"/>
              <a:gd name="adj3" fmla="val 16171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7745556" y="2196291"/>
            <a:ext cx="871005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1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6206373" y="2225740"/>
            <a:ext cx="1045042" cy="4181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FF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117" dirty="0" smtClean="0">
                <a:solidFill>
                  <a:schemeClr val="accent1">
                    <a:lumMod val="75000"/>
                  </a:schemeClr>
                </a:solidFill>
              </a:rPr>
              <a:t>0,2%</a:t>
            </a:r>
            <a:endParaRPr lang="en-US" sz="2117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4" name="Арка 103"/>
          <p:cNvSpPr/>
          <p:nvPr/>
        </p:nvSpPr>
        <p:spPr>
          <a:xfrm rot="16200000">
            <a:off x="4723275" y="2059331"/>
            <a:ext cx="1013647" cy="1048602"/>
          </a:xfrm>
          <a:prstGeom prst="blockArc">
            <a:avLst>
              <a:gd name="adj1" fmla="val 10800000"/>
              <a:gd name="adj2" fmla="val 12782565"/>
              <a:gd name="adj3" fmla="val 20781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FFB5A1-13CA-42AA-9B20-81B60DCDD20D}" type="slidenum">
              <a:rPr lang="ru-RU" smtClean="0"/>
              <a:pPr/>
              <a:t>37</a:t>
            </a:fld>
            <a:endParaRPr lang="ru-RU" dirty="0"/>
          </a:p>
        </p:txBody>
      </p:sp>
      <p:sp>
        <p:nvSpPr>
          <p:cNvPr id="55" name="Арка 54"/>
          <p:cNvSpPr/>
          <p:nvPr/>
        </p:nvSpPr>
        <p:spPr>
          <a:xfrm rot="16200000">
            <a:off x="6187624" y="2049358"/>
            <a:ext cx="1013647" cy="1048602"/>
          </a:xfrm>
          <a:prstGeom prst="blockArc">
            <a:avLst>
              <a:gd name="adj1" fmla="val 10800000"/>
              <a:gd name="adj2" fmla="val 10961747"/>
              <a:gd name="adj3" fmla="val 19033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  <p:sp>
        <p:nvSpPr>
          <p:cNvPr id="56" name="Арка 55"/>
          <p:cNvSpPr/>
          <p:nvPr/>
        </p:nvSpPr>
        <p:spPr>
          <a:xfrm rot="16200000">
            <a:off x="7575118" y="2045510"/>
            <a:ext cx="1013647" cy="1048602"/>
          </a:xfrm>
          <a:prstGeom prst="blockArc">
            <a:avLst>
              <a:gd name="adj1" fmla="val 11183285"/>
              <a:gd name="adj2" fmla="val 11771748"/>
              <a:gd name="adj3" fmla="val 18631"/>
            </a:avLst>
          </a:prstGeom>
          <a:solidFill>
            <a:srgbClr val="50A55D"/>
          </a:solidFill>
          <a:ln w="38100">
            <a:solidFill>
              <a:srgbClr val="50A55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90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9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52755" y="984567"/>
          <a:ext cx="8848630" cy="1056752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332545"/>
                <a:gridCol w="1279158"/>
                <a:gridCol w="2354236"/>
                <a:gridCol w="1823567"/>
                <a:gridCol w="829772"/>
                <a:gridCol w="675395"/>
                <a:gridCol w="704341"/>
                <a:gridCol w="849616"/>
              </a:tblGrid>
              <a:tr h="417205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Фактор (этап) реализации</a:t>
                      </a:r>
                      <a:endParaRPr lang="ru-RU" sz="1500" b="1" dirty="0">
                        <a:solidFill>
                          <a:schemeClr val="tx1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Необходимые меры для повышения эффективности прохождения этапов</a:t>
                      </a:r>
                      <a:endParaRPr lang="ru-RU" sz="1500" b="1" dirty="0">
                        <a:solidFill>
                          <a:schemeClr val="tx1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оказатели, характеризующие степень достижения результата</a:t>
                      </a:r>
                      <a:endParaRPr lang="ru-RU" sz="1500" b="1" dirty="0">
                        <a:solidFill>
                          <a:schemeClr val="tx1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Целевое значение показателей</a:t>
                      </a:r>
                      <a:endParaRPr lang="ru-RU" sz="1500" b="1" dirty="0">
                        <a:solidFill>
                          <a:schemeClr val="tx1">
                            <a:lumMod val="50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2244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 января 2022 г.</a:t>
                      </a:r>
                      <a:endParaRPr lang="ru-RU" sz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 января 2023 г.</a:t>
                      </a:r>
                      <a:endParaRPr lang="ru-RU" sz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 января 2024 г.</a:t>
                      </a:r>
                      <a:endParaRPr lang="ru-RU" sz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 января 2025 г.</a:t>
                      </a:r>
                      <a:endParaRPr lang="ru-RU" sz="12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810" marR="23810" marT="39172" marB="39172"/>
                </a:tc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578941" y="480512"/>
            <a:ext cx="8565059" cy="3536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894011"/>
            <a:r>
              <a:rPr lang="ru-RU" sz="2298" kern="0" dirty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07.2021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3077033"/>
              </p:ext>
            </p:extLst>
          </p:nvPr>
        </p:nvGraphicFramePr>
        <p:xfrm>
          <a:off x="152557" y="2020244"/>
          <a:ext cx="8848831" cy="4316025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238370"/>
                <a:gridCol w="1344406"/>
                <a:gridCol w="2393233"/>
                <a:gridCol w="1830680"/>
                <a:gridCol w="800923"/>
                <a:gridCol w="696040"/>
                <a:gridCol w="676971"/>
                <a:gridCol w="868208"/>
              </a:tblGrid>
              <a:tr h="1813795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фессионализм участников кадастрового учета и (или) регистрации прав</a:t>
                      </a:r>
                      <a:endParaRPr lang="ru-RU" sz="10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ведение анализа причин приостановлений в осуществлении государственного кадастрового учета, в том числе в целях выявления типичных ошибок кадастровых инженеров, а также в целях осуществления контроля за деятельностью органов регистрации прав в части правомерности принятия решений о приостановлении в осуществлении государственного кадастрового учета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нижение количества приостановлений в осуществлении государственного кадастрового учета за счет повышения уровня профессиональных знаний кадастровых инженеров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беспечение деятельности апелляционной комиссии по рассмотрению заявлений об обжаловании решений о приостановлении государственного кадастрового учета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существление мониторинга деятельности кадастровых инженеров (наличие рейтингов, проведение анализа качества деятельности)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рганизация взаимодействия с саморегулируемыми организациями кадастровых инженеров, в том числе создание электронной площадки в целях проведения круглых столов (разъяснительной работы)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ведение семинаров (круглых столов) с кадастровыми инженерами, осуществляющими деятельность на территории субъекта Российской Федерации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нижение количества приостановлений в осуществлении государственной регистрации прав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ведение анализа причин приостановлений в осуществлении государственной регистрации прав, в том числе в целях выявления типичных ошибок заявителей, а также в целях осуществления контроля за деятельностью органов регистрации прав в части правомерности принятия решений о приостановлении в осуществлении государственной регистрации прав</a:t>
                      </a:r>
                      <a:endParaRPr lang="ru-RU" sz="7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2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постановке на государственный кадастровый учет, в том числе с одновременной регистрацией прав, рассмотрение которых приостановлено государственным регистратором прав по основаниям, указанным в </a:t>
                      </a:r>
                      <a:r>
                        <a:rPr lang="ru-RU" sz="800" b="1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hlinkClick r:id="rId5"/>
                        </a:rPr>
                        <a:t>статье 26</a:t>
                      </a:r>
                      <a:r>
                        <a:rPr lang="ru-RU" sz="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Федерального закона "О государственной регистрации недвижимости", в общем количестве таких заявлений, процентов</a:t>
                      </a:r>
                      <a:endParaRPr lang="ru-RU" sz="800" b="1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</a:tr>
              <a:tr h="25022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2.2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государственной регистрации прав, рассмотрение которых приостановлено государственным регистратором прав по основаниям, указанным в </a:t>
                      </a:r>
                      <a:r>
                        <a:rPr lang="ru-RU" sz="800" b="1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hlinkClick r:id="rId5"/>
                        </a:rPr>
                        <a:t>статье 26</a:t>
                      </a:r>
                      <a:r>
                        <a:rPr lang="ru-RU" sz="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Федерального закона "О государственной регистрации недвижимости", в общем количестве поданных заявлений о государственной регистрации прав, процентов</a:t>
                      </a:r>
                      <a:endParaRPr lang="ru-RU" sz="800" b="1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,5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,5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591" marR="14591" marT="24004" marB="24004"/>
                </a:tc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5940243" y="2754335"/>
            <a:ext cx="2774625" cy="687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35" b="1" dirty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marL="518465" indent="-518465" algn="ctr">
              <a:buFont typeface="Wingdings" panose="05000000000000000000" pitchFamily="2" charset="2"/>
              <a:buChar char="ü"/>
            </a:pPr>
            <a:r>
              <a:rPr lang="ru-RU" sz="1935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9,44%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940243" y="4810673"/>
            <a:ext cx="2774625" cy="687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35" b="1" dirty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marL="518465" indent="-518465" algn="ctr">
              <a:buFont typeface="Wingdings" panose="05000000000000000000" pitchFamily="2" charset="2"/>
              <a:buChar char="ü"/>
            </a:pPr>
            <a:r>
              <a:rPr lang="ru-RU" sz="1935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2,4%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38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41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433810" y="267379"/>
            <a:ext cx="8565059" cy="9694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algn="ctr" defTabSz="894011"/>
            <a:r>
              <a:rPr lang="ru-RU" sz="2100" kern="0" dirty="0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по доле приостановлений по обращениям ГКУ и ЕП, поступивших  за период с 01.01.2021 по  31.07.2021</a:t>
            </a:r>
            <a:endParaRPr lang="ru-RU" sz="2100" kern="0" dirty="0">
              <a:solidFill>
                <a:schemeClr val="accent5">
                  <a:lumMod val="75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3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1388751"/>
            <a:ext cx="9144393" cy="3171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15000"/>
              </a:lnSpc>
              <a:buFontTx/>
              <a:buChar char="-"/>
            </a:pPr>
            <a:endParaRPr lang="ru-RU" sz="2900" b="1" dirty="0"/>
          </a:p>
          <a:p>
            <a:pPr marL="457200" indent="-457200" algn="just">
              <a:lnSpc>
                <a:spcPct val="115000"/>
              </a:lnSpc>
              <a:buFontTx/>
              <a:buChar char="-"/>
            </a:pPr>
            <a:r>
              <a:rPr lang="ru-RU" sz="2900" b="1" dirty="0"/>
              <a:t>П</a:t>
            </a:r>
            <a:r>
              <a:rPr lang="ru-RU" sz="2900" b="1" dirty="0" smtClean="0"/>
              <a:t>о </a:t>
            </a:r>
            <a:r>
              <a:rPr lang="ru-RU" sz="2900" b="1" dirty="0"/>
              <a:t>заявлениям о государственном кадастровом учете – 19,64%, при целевом показателе </a:t>
            </a:r>
            <a:r>
              <a:rPr lang="ru-RU" sz="2900" b="1" dirty="0" smtClean="0"/>
              <a:t>10%; </a:t>
            </a:r>
          </a:p>
          <a:p>
            <a:pPr algn="just">
              <a:lnSpc>
                <a:spcPct val="115000"/>
              </a:lnSpc>
            </a:pPr>
            <a:endParaRPr lang="ru-RU" sz="2900" b="1" dirty="0"/>
          </a:p>
          <a:p>
            <a:pPr marL="457200" indent="-457200" algn="just">
              <a:lnSpc>
                <a:spcPct val="115000"/>
              </a:lnSpc>
              <a:buFontTx/>
              <a:buChar char="-"/>
            </a:pPr>
            <a:r>
              <a:rPr lang="ru-RU" sz="2900" b="1" dirty="0" smtClean="0"/>
              <a:t> По </a:t>
            </a:r>
            <a:r>
              <a:rPr lang="ru-RU" sz="2900" b="1" dirty="0"/>
              <a:t>«единой процедуре» - 16,82%, при целевом показателе </a:t>
            </a:r>
            <a:r>
              <a:rPr lang="ru-RU" sz="2900" b="1" dirty="0" smtClean="0"/>
              <a:t>10%; </a:t>
            </a:r>
            <a:endParaRPr lang="ru-RU" sz="2900" b="1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16375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578941" y="480512"/>
            <a:ext cx="856505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894011"/>
            <a:r>
              <a:rPr lang="ru-RU" sz="2000" kern="0" dirty="0" smtClean="0">
                <a:solidFill>
                  <a:schemeClr val="accent1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зисы по основным изменениям в законодательстве</a:t>
            </a:r>
            <a:endParaRPr lang="ru-RU" sz="2000" kern="0" dirty="0">
              <a:solidFill>
                <a:schemeClr val="accent1">
                  <a:lumMod val="75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1024712"/>
            <a:ext cx="9144000" cy="5426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блемы застройщика – не проблемы дольщика (273-ФЗ)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рест на ЗУ не препятствует ГКУ МКД и регистрации прав на квартиры.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 err="1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аэродромная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территория (191-ФЗ)</a:t>
            </a:r>
            <a:endParaRPr lang="ru-RU" dirty="0" smtClean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етко 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исаны случаи, в которых </a:t>
            </a:r>
            <a:r>
              <a:rPr lang="ru-RU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аэродромная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территория является препятствием для ГКУ объектов недвижимости – в зависимости от количества </a:t>
            </a:r>
            <a:r>
              <a:rPr lang="ru-RU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зон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 такой зоне. 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арийный дом (148-ФЗ)</a:t>
            </a:r>
            <a:endParaRPr lang="ru-RU" dirty="0" smtClean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0"/>
              </a:spcAft>
            </a:pP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 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1.02.2022 предусматривается внесение в качестве </a:t>
            </a:r>
            <a:r>
              <a:rPr lang="ru-RU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.характеристики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 ЕГРН данных о том, что жилое помещение расположено в многоквартирном доме, признанном аварийным и подлежащим сносу или реконструкции, или о признании жилого помещения, расположенного в многоквартирном доме, непригодным для проживания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страция проще для «</a:t>
            </a:r>
            <a:r>
              <a:rPr lang="ru-RU" b="1" dirty="0" err="1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нейщиков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 (275-ФЗ)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ведено допустимое отклонение протяженности линейного объекта от 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нных, отраженных в разрешении на строительство  </a:t>
            </a: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5%.</a:t>
            </a:r>
            <a:endParaRPr lang="ru-RU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8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257042" y="0"/>
            <a:ext cx="8741827" cy="9694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algn="ctr" defTabSz="894011"/>
            <a:r>
              <a:rPr lang="ru-RU" sz="2100" kern="0" dirty="0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Предлагаемый порядок взаимодействия </a:t>
            </a:r>
            <a:r>
              <a:rPr lang="ru-RU" sz="2100" kern="0" dirty="0" err="1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Росреестра</a:t>
            </a:r>
            <a:r>
              <a:rPr lang="ru-RU" sz="2100" kern="0" dirty="0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 и Кадастровых инженеров  по достижению целевых показателей</a:t>
            </a:r>
            <a:endParaRPr lang="ru-RU" sz="2100" kern="0" dirty="0">
              <a:solidFill>
                <a:schemeClr val="accent5">
                  <a:lumMod val="75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4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848869"/>
            <a:ext cx="9143999" cy="60316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1500" b="1" dirty="0">
                <a:ea typeface="Times New Roman" panose="02020603050405020304" pitchFamily="18" charset="0"/>
              </a:rPr>
              <a:t>В целях достижения на территории Ленинградкой области целевых показателей, установленных Распоряжением Правительства РФ от 31.01.2017 №147-р, предлагаем следующий порядок действий. </a:t>
            </a:r>
            <a:endParaRPr lang="ru-RU" sz="1500" b="1" dirty="0" smtClean="0">
              <a:ea typeface="Times New Roman" panose="02020603050405020304" pitchFamily="18" charset="0"/>
            </a:endParaRPr>
          </a:p>
          <a:p>
            <a:pPr marL="228600" indent="-228600" algn="just">
              <a:lnSpc>
                <a:spcPct val="115000"/>
              </a:lnSpc>
              <a:spcAft>
                <a:spcPts val="0"/>
              </a:spcAft>
              <a:buAutoNum type="arabicPeriod"/>
            </a:pPr>
            <a:r>
              <a:rPr lang="ru-RU" sz="1500" b="1" dirty="0" smtClean="0">
                <a:ea typeface="Times New Roman" panose="02020603050405020304" pitchFamily="18" charset="0"/>
              </a:rPr>
              <a:t> </a:t>
            </a:r>
            <a:r>
              <a:rPr lang="ru-RU" sz="1500" b="1" dirty="0">
                <a:ea typeface="Times New Roman" panose="02020603050405020304" pitchFamily="18" charset="0"/>
              </a:rPr>
              <a:t>П</a:t>
            </a:r>
            <a:r>
              <a:rPr lang="ru-RU" sz="1500" b="1" dirty="0" smtClean="0"/>
              <a:t>осле </a:t>
            </a:r>
            <a:r>
              <a:rPr lang="ru-RU" sz="1500" b="1" dirty="0"/>
              <a:t>поступления в Управление заявления и документов </a:t>
            </a:r>
            <a:r>
              <a:rPr lang="ru-RU" sz="1500" b="1" dirty="0" smtClean="0"/>
              <a:t>по ГКУ/ЕП, в том числе поступивших от КИ, государственными </a:t>
            </a:r>
            <a:r>
              <a:rPr lang="ru-RU" sz="1500" b="1" dirty="0"/>
              <a:t>регистраторами проводится правовая экспертиза в соответствии с ч.1 ст. 29 Закона о регистрации. </a:t>
            </a:r>
          </a:p>
          <a:p>
            <a:pPr lvl="0" algn="just">
              <a:lnSpc>
                <a:spcPct val="115000"/>
              </a:lnSpc>
            </a:pPr>
            <a:r>
              <a:rPr lang="ru-RU" sz="1500" b="1" dirty="0" smtClean="0"/>
              <a:t>3.  При </a:t>
            </a:r>
            <a:r>
              <a:rPr lang="ru-RU" sz="1500" b="1" dirty="0"/>
              <a:t>выявлении причин, препятствующих осуществлению учетно-регистрационных действий и являющихся основанием для принятия решения о приостановлении в соответствии со ст. 26 Закона о регистрации, государственным регистратором данная информация доводится до </a:t>
            </a:r>
            <a:r>
              <a:rPr lang="ru-RU" sz="1500" b="1" dirty="0" smtClean="0"/>
              <a:t>заявителя и (или) если заявителем является Кадастровый инженер направляется Кадастровому инженеру на адрес электронной почты, </a:t>
            </a:r>
            <a:r>
              <a:rPr lang="ru-RU" sz="1500" b="1" dirty="0"/>
              <a:t>представившего заявление, с указанием срока, в течение которого необходимо устранить замечания. Информация </a:t>
            </a:r>
            <a:r>
              <a:rPr lang="ru-RU" sz="1500" b="1" dirty="0" smtClean="0"/>
              <a:t>также может </a:t>
            </a:r>
            <a:r>
              <a:rPr lang="ru-RU" sz="1500" b="1" dirty="0"/>
              <a:t>доводиться как в устной форме (по телефону), так и путем направления проекта решения о приостановлении на адрес электронной почты, указанный в </a:t>
            </a:r>
            <a:r>
              <a:rPr lang="ru-RU" sz="1500" b="1" dirty="0" smtClean="0"/>
              <a:t>МП/ТП. </a:t>
            </a:r>
            <a:endParaRPr lang="ru-RU" sz="1500" b="1" dirty="0"/>
          </a:p>
          <a:p>
            <a:pPr lvl="0" algn="just">
              <a:lnSpc>
                <a:spcPct val="115000"/>
              </a:lnSpc>
            </a:pPr>
            <a:r>
              <a:rPr lang="ru-RU" sz="1500" b="1" dirty="0" smtClean="0"/>
              <a:t>4. В </a:t>
            </a:r>
            <a:r>
              <a:rPr lang="ru-RU" sz="1500" b="1" dirty="0"/>
              <a:t>случае невозможности в указанный регистратором срок устранить причины, препятствующие принятию государственным регистратором положительного решения, </a:t>
            </a:r>
            <a:r>
              <a:rPr lang="ru-RU" sz="1500" b="1" dirty="0" smtClean="0"/>
              <a:t>Кадастровый инженер (заявитель) подает </a:t>
            </a:r>
            <a:r>
              <a:rPr lang="ru-RU" sz="1500" b="1" dirty="0"/>
              <a:t>заявление о приостановлении учетно-регистрационных действий </a:t>
            </a:r>
            <a:r>
              <a:rPr lang="ru-RU" sz="1500" b="1" dirty="0" smtClean="0"/>
              <a:t>по ст. 30 Закона о регистрации (срок приостановления до 6 месяцев), в случае если недостатки являются неустранимыми и требуют значительного времени для устранения причин, препятствующих принятию положительного решения-заявление о  прекращении учетно-регистрационных действий.</a:t>
            </a:r>
          </a:p>
          <a:p>
            <a:pPr lvl="0" algn="just">
              <a:lnSpc>
                <a:spcPct val="115000"/>
              </a:lnSpc>
            </a:pPr>
            <a:r>
              <a:rPr lang="ru-RU" sz="1500" b="1" dirty="0" smtClean="0"/>
              <a:t>5. Государственный регистратор прав Управления при подготовке уведомлений о приостановлении по ст. 30 (на 6 месяцев по личному заявлению) либо о прекращении УРД обязуется в полном объеме излагать причины, препятствующие принятию положительного решения по документам</a:t>
            </a:r>
          </a:p>
          <a:p>
            <a:pPr lvl="0" algn="just">
              <a:lnSpc>
                <a:spcPct val="115000"/>
              </a:lnSpc>
            </a:pPr>
            <a:endParaRPr lang="ru-RU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3836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433810" y="267379"/>
            <a:ext cx="856505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algn="ctr" defTabSz="894011"/>
            <a:r>
              <a:rPr lang="ru-RU" sz="2100" kern="0" dirty="0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Ответственные от Управления </a:t>
            </a:r>
            <a:r>
              <a:rPr lang="ru-RU" sz="2100" kern="0" dirty="0" err="1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Росреестра</a:t>
            </a:r>
            <a:r>
              <a:rPr lang="ru-RU" sz="2100" kern="0" dirty="0" smtClean="0">
                <a:solidFill>
                  <a:schemeClr val="accent5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 по Ленинградской области за взаимодействие</a:t>
            </a:r>
            <a:endParaRPr lang="ru-RU" sz="2100" kern="0" dirty="0">
              <a:solidFill>
                <a:schemeClr val="accent5">
                  <a:lumMod val="75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4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2" y="901183"/>
            <a:ext cx="9168715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66040" lvl="0" indent="-342900" algn="just">
              <a:spcBef>
                <a:spcPts val="10"/>
              </a:spcBef>
              <a:spcAft>
                <a:spcPts val="0"/>
              </a:spcAft>
              <a:buSzPts val="1400"/>
              <a:buFont typeface="Times New Roman" panose="02020603050405020304" pitchFamily="18" charset="0"/>
              <a:buAutoNum type="arabicPeriod"/>
              <a:tabLst>
                <a:tab pos="917575" algn="l"/>
              </a:tabLst>
            </a:pP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о</a:t>
            </a:r>
            <a:r>
              <a:rPr lang="ru-RU" sz="2000" b="1" spc="5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остановке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а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государственный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кадастровый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учет</a:t>
            </a:r>
            <a:r>
              <a:rPr lang="ru-RU" sz="2000" b="1" spc="-33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многоквартирных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домов,</a:t>
            </a:r>
            <a:r>
              <a:rPr lang="ru-RU" sz="2000" b="1" spc="5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Ершова Светлана Николаевна - </a:t>
            </a: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начальник</a:t>
            </a:r>
            <a:r>
              <a:rPr lang="ru-RU" sz="2000" b="1" spc="5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тдела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егистрации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долевого участия в строительстве, регистрации недвижимости в электронном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иде.</a:t>
            </a:r>
            <a:r>
              <a:rPr lang="ru-RU" sz="2000" b="1" spc="14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Электронный</a:t>
            </a:r>
            <a:r>
              <a:rPr lang="ru-RU" sz="2000" b="1" spc="14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адрес:</a:t>
            </a:r>
            <a:r>
              <a:rPr lang="ru-RU" sz="2000" b="1" spc="155" dirty="0">
                <a:solidFill>
                  <a:srgbClr val="0000FF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00FF"/>
                </a:solidFill>
                <a:latin typeface="Times New Roman" panose="02020603050405020304" pitchFamily="18" charset="0"/>
                <a:ea typeface="Times New Roman" panose="02020603050405020304" pitchFamily="18" charset="0"/>
                <a:hlinkClick r:id="rId5"/>
              </a:rPr>
              <a:t>ddu@r47.rosreestr.ru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.</a:t>
            </a:r>
            <a:r>
              <a:rPr lang="ru-RU" sz="2000" b="1" spc="1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Контактный</a:t>
            </a:r>
            <a:r>
              <a:rPr lang="ru-RU" sz="2000" b="1" spc="1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омер</a:t>
            </a:r>
            <a:r>
              <a:rPr lang="ru-RU" sz="2000" b="1" spc="15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для</a:t>
            </a:r>
            <a:r>
              <a:rPr lang="ru-RU" sz="2000" b="1" spc="15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вязи:</a:t>
            </a:r>
            <a:r>
              <a:rPr lang="ru-RU" sz="2000" b="1" spc="-34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8 (812)</a:t>
            </a:r>
            <a:r>
              <a:rPr lang="ru-RU" sz="2000" b="1" spc="-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499-00-06.</a:t>
            </a:r>
          </a:p>
          <a:p>
            <a:pPr marL="342900" marR="65405" lvl="0" indent="-342900" algn="just">
              <a:spcAft>
                <a:spcPts val="0"/>
              </a:spcAft>
              <a:buSzPts val="1400"/>
              <a:buFont typeface="Times New Roman" panose="02020603050405020304" pitchFamily="18" charset="0"/>
              <a:buAutoNum type="arabicPeriod"/>
              <a:tabLst>
                <a:tab pos="842645" algn="l"/>
              </a:tabLst>
            </a:pP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о</a:t>
            </a:r>
            <a:r>
              <a:rPr lang="ru-RU" sz="2000" b="1" spc="5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государственному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кадастровому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учету,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государственному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кадастровому учету и государственной регистрации прав (единая </a:t>
            </a: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роцедура) по территориям Всеволожского, Кировского, Выборгского районов -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Бердникова Надежда Николаевна – начальник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тдела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егистрации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емельных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участков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и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бъектов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капитального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троительства.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Электронный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адрес:</a:t>
            </a:r>
            <a:r>
              <a:rPr lang="ru-RU" sz="2000" b="1" spc="5" dirty="0">
                <a:solidFill>
                  <a:srgbClr val="0000FF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00FF"/>
                </a:solidFill>
                <a:latin typeface="Times New Roman" panose="02020603050405020304" pitchFamily="18" charset="0"/>
                <a:ea typeface="Times New Roman" panose="02020603050405020304" pitchFamily="18" charset="0"/>
                <a:hlinkClick r:id="rId6"/>
              </a:rPr>
              <a:t>gku@r47.rosreestr.ru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.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Контактный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омер</a:t>
            </a:r>
            <a:r>
              <a:rPr lang="ru-RU" sz="2000" b="1" spc="-33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для</a:t>
            </a:r>
            <a:r>
              <a:rPr lang="ru-RU" sz="2000" b="1" spc="-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вязи:</a:t>
            </a:r>
            <a:r>
              <a:rPr lang="ru-RU" sz="2000" b="1" spc="-1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8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(812) 499-00-27.</a:t>
            </a:r>
          </a:p>
          <a:p>
            <a:pPr marL="342900" marR="64770" lvl="0" indent="-342900" algn="just">
              <a:spcBef>
                <a:spcPts val="5"/>
              </a:spcBef>
              <a:spcAft>
                <a:spcPts val="0"/>
              </a:spcAft>
              <a:buSzPts val="1400"/>
              <a:buFont typeface="Times New Roman" panose="02020603050405020304" pitchFamily="18" charset="0"/>
              <a:buAutoNum type="arabicPeriod"/>
              <a:tabLst>
                <a:tab pos="788035" algn="l"/>
              </a:tabLst>
            </a:pP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о</a:t>
            </a:r>
            <a:r>
              <a:rPr lang="ru-RU" sz="2000" b="1" spc="5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государственной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егистрации</a:t>
            </a:r>
            <a:r>
              <a:rPr lang="ru-RU" sz="2000" b="1" spc="5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2000" b="1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прав, ГКУ и ЕП по иным территориям Ленинградской области - начальники территориальных отделов Управления. </a:t>
            </a:r>
            <a:endParaRPr lang="ru-RU" sz="2000" b="1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61374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3A1659D3-D16F-DC47-BEE8-EA221D24F600}"/>
              </a:ext>
            </a:extLst>
          </p:cNvPr>
          <p:cNvSpPr/>
          <p:nvPr/>
        </p:nvSpPr>
        <p:spPr>
          <a:xfrm>
            <a:off x="4775774" y="921353"/>
            <a:ext cx="5371023" cy="44935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400" b="1" dirty="0">
                <a:solidFill>
                  <a:srgbClr val="3E7E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</a:t>
            </a:r>
          </a:p>
          <a:p>
            <a:r>
              <a:rPr lang="ru-RU" sz="4400" b="1" dirty="0">
                <a:solidFill>
                  <a:srgbClr val="3E7E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нимание</a:t>
            </a:r>
            <a:r>
              <a:rPr lang="ru-RU" sz="4400" b="1" dirty="0" smtClean="0">
                <a:solidFill>
                  <a:srgbClr val="3E7E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  <a:p>
            <a:endParaRPr lang="ru-RU" sz="4400" b="1" dirty="0">
              <a:solidFill>
                <a:srgbClr val="3E7E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4400" b="1" dirty="0" smtClean="0">
              <a:solidFill>
                <a:srgbClr val="3E7E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 smtClean="0">
                <a:solidFill>
                  <a:srgbClr val="3E7E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 Управления:</a:t>
            </a:r>
          </a:p>
          <a:p>
            <a:r>
              <a:rPr lang="ru-RU" b="1" dirty="0" smtClean="0">
                <a:solidFill>
                  <a:srgbClr val="3E7E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812-499-00-14</a:t>
            </a:r>
          </a:p>
          <a:p>
            <a:r>
              <a:rPr lang="ru-RU" b="1" dirty="0" smtClean="0">
                <a:solidFill>
                  <a:srgbClr val="3E7E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812-499-00-34</a:t>
            </a:r>
          </a:p>
          <a:p>
            <a:endParaRPr lang="ru-RU" b="1" dirty="0" smtClean="0">
              <a:solidFill>
                <a:srgbClr val="3E7E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4400" b="1" dirty="0">
              <a:solidFill>
                <a:srgbClr val="3E7E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6292" y="212253"/>
            <a:ext cx="1684581" cy="70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887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6370186"/>
            <a:ext cx="9144393" cy="29195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10579" y="181416"/>
            <a:ext cx="8390807" cy="12325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30238" y="797813"/>
            <a:ext cx="8471148" cy="9779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042" y="311632"/>
            <a:ext cx="353537" cy="53723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578941" y="480512"/>
            <a:ext cx="856505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894011"/>
            <a:r>
              <a:rPr lang="ru-RU" sz="2000" kern="0" dirty="0" smtClean="0">
                <a:solidFill>
                  <a:schemeClr val="accent1">
                    <a:lumMod val="75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зисы по основным изменениям в законодательстве</a:t>
            </a:r>
            <a:endParaRPr lang="ru-RU" sz="2000" kern="0" dirty="0">
              <a:solidFill>
                <a:schemeClr val="accent1">
                  <a:lumMod val="75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86599" y="6317871"/>
            <a:ext cx="2057400" cy="344269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964132"/>
            <a:ext cx="8893630" cy="516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ватизация земель в ООПТ в населенных пунктах (505-ФЗ)</a:t>
            </a:r>
            <a:endParaRPr lang="ru-RU" sz="1400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algn="just">
              <a:lnSpc>
                <a:spcPct val="107000"/>
              </a:lnSpc>
              <a:spcAft>
                <a:spcPts val="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орот земельных участков на территории населенного пункта, включенного в состав особо охраняемой природной территории федерального или регионального значения, не ограничивается. Такие земельные участки могут находиться по основаниям, предусмотренным законом, в собственности Российской Федерации, субъектов Российской Федерации, муниципальной собственности, собственности граждан или юридических лиц либо относиться к земельным участкам, государственная собственность на которые не разграничена. Предоставление земельных участков, находящихся в государственной или муниципальной собственности, осуществляется в соответствии с земельным законодательством.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м для фермера (299-ФЗ)</a:t>
            </a:r>
            <a:endParaRPr lang="ru-RU" sz="1400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 01.03.2022 На земельном участке из состава земель сельскохозяйственного назначения, в том числе занятом сельскохозяйственными угодьями, используемом крестьянским (фермерским) хозяйством для осуществления своей деятельности, допускаются строительство, реконструкция и эксплуатация одного жилого дома с количеством этажей не более трех, общая площадь которого составляет не более пятисот квадратных метров и площадь застройки под которым составляет не более 0,25 процента от площади земельного участка. </a:t>
            </a:r>
            <a:endParaRPr lang="ru-RU" sz="16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61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059176" y="0"/>
            <a:ext cx="6084824" cy="6857998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64007" y="1436460"/>
            <a:ext cx="3031490" cy="18594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2540" algn="ctr">
              <a:lnSpc>
                <a:spcPct val="100000"/>
              </a:lnSpc>
              <a:spcBef>
                <a:spcPts val="100"/>
              </a:spcBef>
            </a:pPr>
            <a:r>
              <a:rPr lang="ru-RU" sz="2400" b="1" spc="-5" dirty="0" smtClean="0">
                <a:solidFill>
                  <a:srgbClr val="3866A1"/>
                </a:solidFill>
                <a:latin typeface="Segoe UI"/>
                <a:cs typeface="Segoe UI"/>
              </a:rPr>
              <a:t>Об </a:t>
            </a:r>
            <a:r>
              <a:rPr lang="ru-RU" sz="2400" b="1" spc="-10" dirty="0" smtClean="0">
                <a:solidFill>
                  <a:srgbClr val="3866A1"/>
                </a:solidFill>
                <a:latin typeface="Segoe UI"/>
                <a:cs typeface="Segoe UI"/>
              </a:rPr>
              <a:t>изменениях </a:t>
            </a:r>
            <a:r>
              <a:rPr lang="ru-RU" sz="2400" b="1" dirty="0">
                <a:solidFill>
                  <a:srgbClr val="3866A1"/>
                </a:solidFill>
                <a:latin typeface="Segoe UI"/>
                <a:cs typeface="Segoe UI"/>
              </a:rPr>
              <a:t>в </a:t>
            </a:r>
            <a:r>
              <a:rPr lang="ru-RU" sz="2400" b="1" spc="5" dirty="0">
                <a:solidFill>
                  <a:srgbClr val="3866A1"/>
                </a:solidFill>
                <a:latin typeface="Segoe UI"/>
                <a:cs typeface="Segoe UI"/>
              </a:rPr>
              <a:t> </a:t>
            </a:r>
            <a:r>
              <a:rPr lang="ru-RU" sz="2400" b="1" spc="-10" dirty="0">
                <a:solidFill>
                  <a:srgbClr val="3866A1"/>
                </a:solidFill>
                <a:latin typeface="Segoe UI"/>
                <a:cs typeface="Segoe UI"/>
              </a:rPr>
              <a:t>законодательстве </a:t>
            </a:r>
            <a:r>
              <a:rPr lang="ru-RU" sz="2400" b="1" dirty="0">
                <a:solidFill>
                  <a:srgbClr val="3866A1"/>
                </a:solidFill>
                <a:latin typeface="Segoe UI"/>
                <a:cs typeface="Segoe UI"/>
              </a:rPr>
              <a:t>в </a:t>
            </a:r>
            <a:r>
              <a:rPr lang="ru-RU" sz="2400" b="1" spc="-650" dirty="0">
                <a:solidFill>
                  <a:srgbClr val="3866A1"/>
                </a:solidFill>
                <a:latin typeface="Segoe UI"/>
                <a:cs typeface="Segoe UI"/>
              </a:rPr>
              <a:t> </a:t>
            </a:r>
            <a:r>
              <a:rPr lang="ru-RU" sz="2400" b="1" dirty="0">
                <a:solidFill>
                  <a:srgbClr val="3866A1"/>
                </a:solidFill>
                <a:latin typeface="Segoe UI"/>
                <a:cs typeface="Segoe UI"/>
              </a:rPr>
              <a:t>сфере</a:t>
            </a:r>
            <a:r>
              <a:rPr lang="ru-RU" sz="2400" b="1" spc="-60" dirty="0">
                <a:solidFill>
                  <a:srgbClr val="3866A1"/>
                </a:solidFill>
                <a:latin typeface="Segoe UI"/>
                <a:cs typeface="Segoe UI"/>
              </a:rPr>
              <a:t> </a:t>
            </a:r>
            <a:r>
              <a:rPr lang="ru-RU" sz="2400" b="1" spc="-10" dirty="0">
                <a:solidFill>
                  <a:srgbClr val="3866A1"/>
                </a:solidFill>
                <a:latin typeface="Segoe UI"/>
                <a:cs typeface="Segoe UI"/>
              </a:rPr>
              <a:t>кадастрового </a:t>
            </a:r>
            <a:r>
              <a:rPr lang="ru-RU" sz="2400" b="1" spc="-650" dirty="0">
                <a:solidFill>
                  <a:srgbClr val="3866A1"/>
                </a:solidFill>
                <a:latin typeface="Segoe UI"/>
                <a:cs typeface="Segoe UI"/>
              </a:rPr>
              <a:t> </a:t>
            </a:r>
            <a:r>
              <a:rPr lang="ru-RU" sz="2400" b="1" spc="-5" dirty="0">
                <a:solidFill>
                  <a:srgbClr val="3866A1"/>
                </a:solidFill>
                <a:latin typeface="Segoe UI"/>
                <a:cs typeface="Segoe UI"/>
              </a:rPr>
              <a:t>учета земельных </a:t>
            </a:r>
            <a:r>
              <a:rPr lang="ru-RU" sz="2400" b="1" dirty="0">
                <a:solidFill>
                  <a:srgbClr val="3866A1"/>
                </a:solidFill>
                <a:latin typeface="Segoe UI"/>
                <a:cs typeface="Segoe UI"/>
              </a:rPr>
              <a:t> </a:t>
            </a:r>
            <a:r>
              <a:rPr lang="ru-RU" sz="2400" b="1" spc="-10" dirty="0" smtClean="0">
                <a:solidFill>
                  <a:srgbClr val="3866A1"/>
                </a:solidFill>
                <a:latin typeface="Segoe UI"/>
                <a:cs typeface="Segoe UI"/>
              </a:rPr>
              <a:t>участков</a:t>
            </a:r>
            <a:endParaRPr sz="2400" b="1" spc="-10" dirty="0">
              <a:solidFill>
                <a:srgbClr val="3866A1"/>
              </a:solidFill>
              <a:latin typeface="Segoe UI"/>
              <a:cs typeface="Segoe U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58267" y="3575684"/>
            <a:ext cx="3423285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30859C"/>
                </a:solidFill>
                <a:latin typeface="Segoe UI Semibold"/>
                <a:cs typeface="Segoe UI Semibold"/>
              </a:rPr>
              <a:t>*</a:t>
            </a:r>
            <a:r>
              <a:rPr sz="1600" spc="-10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5" dirty="0">
                <a:solidFill>
                  <a:srgbClr val="30859C"/>
                </a:solidFill>
                <a:latin typeface="Segoe UI Semibold"/>
                <a:cs typeface="Segoe UI Semibold"/>
              </a:rPr>
              <a:t>В</a:t>
            </a:r>
            <a:r>
              <a:rPr sz="1600" spc="-25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10" dirty="0">
                <a:solidFill>
                  <a:srgbClr val="30859C"/>
                </a:solidFill>
                <a:latin typeface="Segoe UI Semibold"/>
                <a:cs typeface="Segoe UI Semibold"/>
              </a:rPr>
              <a:t>связи</a:t>
            </a:r>
            <a:r>
              <a:rPr sz="1600" spc="10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5" dirty="0">
                <a:solidFill>
                  <a:srgbClr val="30859C"/>
                </a:solidFill>
                <a:latin typeface="Segoe UI Semibold"/>
                <a:cs typeface="Segoe UI Semibold"/>
              </a:rPr>
              <a:t>с</a:t>
            </a:r>
            <a:r>
              <a:rPr sz="1600" spc="-10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5" dirty="0">
                <a:solidFill>
                  <a:srgbClr val="30859C"/>
                </a:solidFill>
                <a:latin typeface="Segoe UI Semibold"/>
                <a:cs typeface="Segoe UI Semibold"/>
              </a:rPr>
              <a:t>вступлением</a:t>
            </a:r>
            <a:r>
              <a:rPr sz="1600" spc="5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5" dirty="0">
                <a:solidFill>
                  <a:srgbClr val="30859C"/>
                </a:solidFill>
                <a:latin typeface="Segoe UI Semibold"/>
                <a:cs typeface="Segoe UI Semibold"/>
              </a:rPr>
              <a:t>в</a:t>
            </a:r>
            <a:r>
              <a:rPr sz="1600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10" dirty="0">
                <a:solidFill>
                  <a:srgbClr val="30859C"/>
                </a:solidFill>
                <a:latin typeface="Segoe UI Semibold"/>
                <a:cs typeface="Segoe UI Semibold"/>
              </a:rPr>
              <a:t>силу</a:t>
            </a:r>
            <a:endParaRPr sz="1600" dirty="0">
              <a:latin typeface="Segoe UI Semibold"/>
              <a:cs typeface="Segoe UI Semibold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10" dirty="0">
                <a:solidFill>
                  <a:srgbClr val="30859C"/>
                </a:solidFill>
                <a:latin typeface="Segoe UI Semibold"/>
                <a:cs typeface="Segoe UI Semibold"/>
              </a:rPr>
              <a:t>Федерального</a:t>
            </a:r>
            <a:r>
              <a:rPr sz="1600" spc="-20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-10" dirty="0">
                <a:solidFill>
                  <a:srgbClr val="30859C"/>
                </a:solidFill>
                <a:latin typeface="Segoe UI Semibold"/>
                <a:cs typeface="Segoe UI Semibold"/>
              </a:rPr>
              <a:t>закона</a:t>
            </a:r>
            <a:r>
              <a:rPr sz="1600" spc="-20" dirty="0">
                <a:solidFill>
                  <a:srgbClr val="30859C"/>
                </a:solidFill>
                <a:latin typeface="Segoe UI Semibold"/>
                <a:cs typeface="Segoe UI Semibold"/>
              </a:rPr>
              <a:t> от</a:t>
            </a:r>
            <a:r>
              <a:rPr sz="1600" spc="-25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15" dirty="0">
                <a:solidFill>
                  <a:srgbClr val="30859C"/>
                </a:solidFill>
                <a:latin typeface="Segoe UI Semibold"/>
                <a:cs typeface="Segoe UI Semibold"/>
              </a:rPr>
              <a:t>30.04.2021</a:t>
            </a:r>
            <a:endParaRPr sz="1600" dirty="0">
              <a:latin typeface="Segoe UI Semibold"/>
              <a:cs typeface="Segoe UI Semibold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solidFill>
                  <a:srgbClr val="30859C"/>
                </a:solidFill>
                <a:latin typeface="Segoe UI Semibold"/>
                <a:cs typeface="Segoe UI Semibold"/>
              </a:rPr>
              <a:t>№</a:t>
            </a:r>
            <a:r>
              <a:rPr sz="1600" spc="-50" dirty="0">
                <a:solidFill>
                  <a:srgbClr val="30859C"/>
                </a:solidFill>
                <a:latin typeface="Segoe UI Semibold"/>
                <a:cs typeface="Segoe UI Semibold"/>
              </a:rPr>
              <a:t> </a:t>
            </a:r>
            <a:r>
              <a:rPr sz="1600" spc="20" dirty="0" smtClean="0">
                <a:solidFill>
                  <a:srgbClr val="30859C"/>
                </a:solidFill>
                <a:latin typeface="Segoe UI Semibold"/>
                <a:cs typeface="Segoe UI Semibold"/>
              </a:rPr>
              <a:t>1</a:t>
            </a:r>
            <a:r>
              <a:rPr lang="ru-RU" sz="1600" spc="20" dirty="0" smtClean="0">
                <a:solidFill>
                  <a:srgbClr val="30859C"/>
                </a:solidFill>
                <a:latin typeface="Segoe UI Semibold"/>
                <a:cs typeface="Segoe UI Semibold"/>
              </a:rPr>
              <a:t>20-ФЗ</a:t>
            </a:r>
            <a:endParaRPr sz="1600" dirty="0">
              <a:latin typeface="Segoe UI Semibold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76313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90512" y="206438"/>
            <a:ext cx="8523605" cy="6447155"/>
            <a:chOff x="290512" y="206438"/>
            <a:chExt cx="8523605" cy="644715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90512" y="206438"/>
              <a:ext cx="514350" cy="779462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47687" y="985837"/>
              <a:ext cx="8266049" cy="5667375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472183" y="1088136"/>
              <a:ext cx="6670548" cy="114300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1813433" y="2280158"/>
              <a:ext cx="5261610" cy="2311400"/>
            </a:xfrm>
            <a:custGeom>
              <a:avLst/>
              <a:gdLst/>
              <a:ahLst/>
              <a:cxnLst/>
              <a:rect l="l" t="t" r="r" b="b"/>
              <a:pathLst>
                <a:path w="5261609" h="2311400">
                  <a:moveTo>
                    <a:pt x="0" y="0"/>
                  </a:moveTo>
                  <a:lnTo>
                    <a:pt x="5261102" y="0"/>
                  </a:lnTo>
                </a:path>
                <a:path w="5261609" h="2311400">
                  <a:moveTo>
                    <a:pt x="0" y="1155445"/>
                  </a:moveTo>
                  <a:lnTo>
                    <a:pt x="5261102" y="1155445"/>
                  </a:lnTo>
                </a:path>
                <a:path w="5261609" h="2311400">
                  <a:moveTo>
                    <a:pt x="0" y="2310891"/>
                  </a:moveTo>
                  <a:lnTo>
                    <a:pt x="5261102" y="2310891"/>
                  </a:lnTo>
                </a:path>
              </a:pathLst>
            </a:custGeom>
            <a:ln w="25400">
              <a:solidFill>
                <a:srgbClr val="4F81B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933094" y="133299"/>
            <a:ext cx="7563484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sz="2500" b="1" spc="-5" dirty="0"/>
              <a:t>Нормативно-правовые</a:t>
            </a:r>
            <a:r>
              <a:rPr sz="2500" b="1" spc="20" dirty="0"/>
              <a:t> </a:t>
            </a:r>
            <a:r>
              <a:rPr sz="2500" b="1" spc="-5" dirty="0"/>
              <a:t>акты,</a:t>
            </a:r>
            <a:r>
              <a:rPr sz="2500" b="1" dirty="0"/>
              <a:t> </a:t>
            </a:r>
            <a:r>
              <a:rPr lang="ru-RU" sz="2500" b="1" dirty="0" smtClean="0"/>
              <a:t/>
            </a:r>
            <a:br>
              <a:rPr lang="ru-RU" sz="2500" b="1" dirty="0" smtClean="0"/>
            </a:br>
            <a:r>
              <a:rPr sz="2500" b="1" spc="-5" dirty="0" smtClean="0"/>
              <a:t>в</a:t>
            </a:r>
            <a:r>
              <a:rPr sz="2500" b="1" dirty="0" smtClean="0"/>
              <a:t> </a:t>
            </a:r>
            <a:r>
              <a:rPr sz="2500" b="1" spc="-20" dirty="0"/>
              <a:t>которые</a:t>
            </a:r>
            <a:r>
              <a:rPr sz="2500" b="1" spc="20" dirty="0"/>
              <a:t> </a:t>
            </a:r>
            <a:r>
              <a:rPr sz="2500" b="1" spc="-5" dirty="0"/>
              <a:t>были</a:t>
            </a:r>
            <a:r>
              <a:rPr sz="2500" b="1" spc="-20" dirty="0"/>
              <a:t> </a:t>
            </a:r>
            <a:r>
              <a:rPr sz="2500" b="1" spc="-5" dirty="0"/>
              <a:t>внесены </a:t>
            </a:r>
            <a:r>
              <a:rPr sz="2500" b="1" spc="-550" dirty="0"/>
              <a:t> </a:t>
            </a:r>
            <a:r>
              <a:rPr sz="2500" b="1" spc="-5" dirty="0"/>
              <a:t>изменения</a:t>
            </a:r>
            <a:endParaRPr sz="2500" b="1" dirty="0"/>
          </a:p>
        </p:txBody>
      </p:sp>
      <p:sp>
        <p:nvSpPr>
          <p:cNvPr id="8" name="object 8"/>
          <p:cNvSpPr txBox="1"/>
          <p:nvPr/>
        </p:nvSpPr>
        <p:spPr>
          <a:xfrm>
            <a:off x="1968245" y="1553971"/>
            <a:ext cx="5022850" cy="36607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Земельный</a:t>
            </a:r>
            <a:r>
              <a:rPr sz="1800" spc="-4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20" dirty="0">
                <a:solidFill>
                  <a:srgbClr val="1F487C"/>
                </a:solidFill>
                <a:latin typeface="Calibri"/>
                <a:cs typeface="Calibri"/>
              </a:rPr>
              <a:t>кодекс</a:t>
            </a:r>
            <a:r>
              <a:rPr sz="1800" spc="-3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РФ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550">
              <a:latin typeface="Calibri"/>
              <a:cs typeface="Calibri"/>
            </a:endParaRPr>
          </a:p>
          <a:p>
            <a:pPr marL="12700">
              <a:lnSpc>
                <a:spcPts val="2065"/>
              </a:lnSpc>
            </a:pP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Федеральный</a:t>
            </a:r>
            <a:r>
              <a:rPr sz="1800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закон</a:t>
            </a:r>
            <a:r>
              <a:rPr sz="1800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от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13.07.2015 N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218-ФЗ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ts val="2065"/>
              </a:lnSpc>
            </a:pP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"О</a:t>
            </a:r>
            <a:r>
              <a:rPr sz="1800" spc="-2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государственной</a:t>
            </a:r>
            <a:r>
              <a:rPr sz="1800" spc="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регистрации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недвижимости"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2400">
              <a:latin typeface="Calibri"/>
              <a:cs typeface="Calibri"/>
            </a:endParaRPr>
          </a:p>
          <a:p>
            <a:pPr marL="12700" marR="490855" algn="just">
              <a:lnSpc>
                <a:spcPct val="91400"/>
              </a:lnSpc>
              <a:spcBef>
                <a:spcPts val="5"/>
              </a:spcBef>
            </a:pP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Федерального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закона от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29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декабря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2004 </a:t>
            </a:r>
            <a:r>
              <a:rPr sz="1800" spc="-20" dirty="0">
                <a:solidFill>
                  <a:srgbClr val="1F487C"/>
                </a:solidFill>
                <a:latin typeface="Calibri"/>
                <a:cs typeface="Calibri"/>
              </a:rPr>
              <a:t>года </a:t>
            </a:r>
            <a:r>
              <a:rPr sz="1800" spc="-39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N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189-ФЗ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"О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введении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в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действие Жилищного </a:t>
            </a:r>
            <a:r>
              <a:rPr sz="1800" spc="-39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15" dirty="0">
                <a:solidFill>
                  <a:srgbClr val="1F487C"/>
                </a:solidFill>
                <a:latin typeface="Calibri"/>
                <a:cs typeface="Calibri"/>
              </a:rPr>
              <a:t>кодекса</a:t>
            </a:r>
            <a:r>
              <a:rPr sz="1800" spc="-4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Российской</a:t>
            </a:r>
            <a:r>
              <a:rPr sz="1800" spc="2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Федерации"</a:t>
            </a:r>
            <a:endParaRPr sz="1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2600">
              <a:latin typeface="Calibri"/>
              <a:cs typeface="Calibri"/>
            </a:endParaRPr>
          </a:p>
          <a:p>
            <a:pPr marL="12700" marR="5080">
              <a:lnSpc>
                <a:spcPts val="1970"/>
              </a:lnSpc>
            </a:pP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Федеральный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закон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от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24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июля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2007 </a:t>
            </a:r>
            <a:r>
              <a:rPr sz="1800" spc="-20" dirty="0">
                <a:solidFill>
                  <a:srgbClr val="1F487C"/>
                </a:solidFill>
                <a:latin typeface="Calibri"/>
                <a:cs typeface="Calibri"/>
              </a:rPr>
              <a:t>года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N </a:t>
            </a:r>
            <a:r>
              <a:rPr sz="1800" spc="-15" dirty="0">
                <a:solidFill>
                  <a:srgbClr val="1F487C"/>
                </a:solidFill>
                <a:latin typeface="Calibri"/>
                <a:cs typeface="Calibri"/>
              </a:rPr>
              <a:t>221-ФЗ </a:t>
            </a:r>
            <a:r>
              <a:rPr sz="1800" spc="-39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1F487C"/>
                </a:solidFill>
                <a:latin typeface="Calibri"/>
                <a:cs typeface="Calibri"/>
              </a:rPr>
              <a:t>"О</a:t>
            </a:r>
            <a:r>
              <a:rPr sz="1800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1F487C"/>
                </a:solidFill>
                <a:latin typeface="Calibri"/>
                <a:cs typeface="Calibri"/>
              </a:rPr>
              <a:t>кадастровой</a:t>
            </a:r>
            <a:r>
              <a:rPr sz="1800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1F487C"/>
                </a:solidFill>
                <a:latin typeface="Calibri"/>
                <a:cs typeface="Calibri"/>
              </a:rPr>
              <a:t>деятельности"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813432" y="5746521"/>
            <a:ext cx="5261610" cy="0"/>
          </a:xfrm>
          <a:custGeom>
            <a:avLst/>
            <a:gdLst/>
            <a:ahLst/>
            <a:cxnLst/>
            <a:rect l="l" t="t" r="r" b="b"/>
            <a:pathLst>
              <a:path w="5261609">
                <a:moveTo>
                  <a:pt x="0" y="0"/>
                </a:moveTo>
                <a:lnTo>
                  <a:pt x="5261102" y="0"/>
                </a:lnTo>
              </a:path>
            </a:pathLst>
          </a:custGeom>
          <a:ln w="25400">
            <a:solidFill>
              <a:srgbClr val="4F81B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8706866" y="6484222"/>
            <a:ext cx="16129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7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7908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841375" y="168338"/>
            <a:ext cx="8315325" cy="6111875"/>
            <a:chOff x="841375" y="168338"/>
            <a:chExt cx="8315325" cy="611187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59652" y="622575"/>
              <a:ext cx="8254893" cy="5657299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854075" y="181038"/>
              <a:ext cx="8289925" cy="655955"/>
            </a:xfrm>
            <a:custGeom>
              <a:avLst/>
              <a:gdLst/>
              <a:ahLst/>
              <a:cxnLst/>
              <a:rect l="l" t="t" r="r" b="b"/>
              <a:pathLst>
                <a:path w="8289925" h="655955">
                  <a:moveTo>
                    <a:pt x="8289925" y="0"/>
                  </a:moveTo>
                  <a:lnTo>
                    <a:pt x="0" y="0"/>
                  </a:lnTo>
                  <a:lnTo>
                    <a:pt x="0" y="655637"/>
                  </a:lnTo>
                  <a:lnTo>
                    <a:pt x="8289925" y="655637"/>
                  </a:lnTo>
                  <a:lnTo>
                    <a:pt x="82899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54075" y="181038"/>
              <a:ext cx="8289925" cy="655955"/>
            </a:xfrm>
            <a:custGeom>
              <a:avLst/>
              <a:gdLst/>
              <a:ahLst/>
              <a:cxnLst/>
              <a:rect l="l" t="t" r="r" b="b"/>
              <a:pathLst>
                <a:path w="8289925" h="655955">
                  <a:moveTo>
                    <a:pt x="0" y="655637"/>
                  </a:moveTo>
                  <a:lnTo>
                    <a:pt x="8289925" y="655637"/>
                  </a:lnTo>
                  <a:lnTo>
                    <a:pt x="8289925" y="0"/>
                  </a:lnTo>
                  <a:lnTo>
                    <a:pt x="0" y="0"/>
                  </a:lnTo>
                  <a:lnTo>
                    <a:pt x="0" y="655637"/>
                  </a:lnTo>
                  <a:close/>
                </a:path>
              </a:pathLst>
            </a:custGeom>
            <a:ln w="254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33094" y="133299"/>
            <a:ext cx="7973059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sz="2500" b="1" spc="-5" dirty="0"/>
              <a:t>Лица, </a:t>
            </a:r>
            <a:r>
              <a:rPr sz="2500" b="1" spc="-10" dirty="0"/>
              <a:t>по</a:t>
            </a:r>
            <a:r>
              <a:rPr sz="2500" b="1" spc="5" dirty="0"/>
              <a:t> </a:t>
            </a:r>
            <a:r>
              <a:rPr sz="2500" b="1" spc="-5" dirty="0"/>
              <a:t>заявлению </a:t>
            </a:r>
            <a:r>
              <a:rPr sz="2500" b="1" spc="-15" dirty="0"/>
              <a:t>которых</a:t>
            </a:r>
            <a:r>
              <a:rPr sz="2500" b="1" spc="10" dirty="0"/>
              <a:t> </a:t>
            </a:r>
            <a:r>
              <a:rPr sz="2500" b="1" spc="-10" dirty="0"/>
              <a:t>осуществляются</a:t>
            </a:r>
            <a:r>
              <a:rPr sz="2500" b="1" spc="40" dirty="0"/>
              <a:t> </a:t>
            </a:r>
            <a:r>
              <a:rPr sz="2500" b="1" spc="-5" dirty="0"/>
              <a:t>ГКУ и</a:t>
            </a:r>
            <a:r>
              <a:rPr sz="2500" b="1" spc="-15" dirty="0"/>
              <a:t> </a:t>
            </a:r>
            <a:r>
              <a:rPr sz="2500" b="1" spc="-5" dirty="0"/>
              <a:t>(или) </a:t>
            </a:r>
            <a:r>
              <a:rPr sz="2500" b="1" spc="-550" dirty="0"/>
              <a:t> </a:t>
            </a:r>
            <a:r>
              <a:rPr sz="2500" b="1" spc="-10" dirty="0"/>
              <a:t>ГРП</a:t>
            </a:r>
            <a:r>
              <a:rPr sz="2500" b="1" spc="-25" dirty="0"/>
              <a:t> </a:t>
            </a:r>
            <a:r>
              <a:rPr sz="2500" b="1" spc="-15" dirty="0"/>
              <a:t>земельных</a:t>
            </a:r>
            <a:r>
              <a:rPr sz="2500" b="1" spc="25" dirty="0"/>
              <a:t> </a:t>
            </a:r>
            <a:r>
              <a:rPr sz="2500" b="1" spc="-10" dirty="0"/>
              <a:t>участков</a:t>
            </a:r>
            <a:endParaRPr sz="2500" b="1" dirty="0"/>
          </a:p>
        </p:txBody>
      </p:sp>
      <p:grpSp>
        <p:nvGrpSpPr>
          <p:cNvPr id="7" name="object 7"/>
          <p:cNvGrpSpPr/>
          <p:nvPr/>
        </p:nvGrpSpPr>
        <p:grpSpPr>
          <a:xfrm>
            <a:off x="3232404" y="1691639"/>
            <a:ext cx="4324985" cy="2029460"/>
            <a:chOff x="3232404" y="1691639"/>
            <a:chExt cx="4324985" cy="2029460"/>
          </a:xfrm>
        </p:grpSpPr>
        <p:sp>
          <p:nvSpPr>
            <p:cNvPr id="8" name="object 8"/>
            <p:cNvSpPr/>
            <p:nvPr/>
          </p:nvSpPr>
          <p:spPr>
            <a:xfrm>
              <a:off x="3991737" y="3085718"/>
              <a:ext cx="2616200" cy="622935"/>
            </a:xfrm>
            <a:custGeom>
              <a:avLst/>
              <a:gdLst/>
              <a:ahLst/>
              <a:cxnLst/>
              <a:rect l="l" t="t" r="r" b="b"/>
              <a:pathLst>
                <a:path w="2616200" h="622935">
                  <a:moveTo>
                    <a:pt x="1308100" y="0"/>
                  </a:moveTo>
                  <a:lnTo>
                    <a:pt x="1308100" y="424179"/>
                  </a:lnTo>
                  <a:lnTo>
                    <a:pt x="2616072" y="424179"/>
                  </a:lnTo>
                  <a:lnTo>
                    <a:pt x="2616072" y="622553"/>
                  </a:lnTo>
                </a:path>
                <a:path w="2616200" h="622935">
                  <a:moveTo>
                    <a:pt x="1308100" y="0"/>
                  </a:moveTo>
                  <a:lnTo>
                    <a:pt x="1308100" y="424179"/>
                  </a:lnTo>
                  <a:lnTo>
                    <a:pt x="0" y="424179"/>
                  </a:lnTo>
                  <a:lnTo>
                    <a:pt x="0" y="622553"/>
                  </a:lnTo>
                </a:path>
              </a:pathLst>
            </a:custGeom>
            <a:ln w="25400">
              <a:solidFill>
                <a:srgbClr val="6FB7C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232404" y="1691639"/>
              <a:ext cx="4133088" cy="1463039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3522853" y="1952497"/>
              <a:ext cx="4029710" cy="1359535"/>
            </a:xfrm>
            <a:custGeom>
              <a:avLst/>
              <a:gdLst/>
              <a:ahLst/>
              <a:cxnLst/>
              <a:rect l="l" t="t" r="r" b="b"/>
              <a:pathLst>
                <a:path w="4029709" h="1359535">
                  <a:moveTo>
                    <a:pt x="3893693" y="0"/>
                  </a:moveTo>
                  <a:lnTo>
                    <a:pt x="135889" y="0"/>
                  </a:lnTo>
                  <a:lnTo>
                    <a:pt x="92935" y="6927"/>
                  </a:lnTo>
                  <a:lnTo>
                    <a:pt x="55632" y="26216"/>
                  </a:lnTo>
                  <a:lnTo>
                    <a:pt x="26216" y="55632"/>
                  </a:lnTo>
                  <a:lnTo>
                    <a:pt x="6927" y="92935"/>
                  </a:lnTo>
                  <a:lnTo>
                    <a:pt x="0" y="135889"/>
                  </a:lnTo>
                  <a:lnTo>
                    <a:pt x="0" y="1223264"/>
                  </a:lnTo>
                  <a:lnTo>
                    <a:pt x="6927" y="1266218"/>
                  </a:lnTo>
                  <a:lnTo>
                    <a:pt x="26216" y="1303521"/>
                  </a:lnTo>
                  <a:lnTo>
                    <a:pt x="55632" y="1332937"/>
                  </a:lnTo>
                  <a:lnTo>
                    <a:pt x="92935" y="1352226"/>
                  </a:lnTo>
                  <a:lnTo>
                    <a:pt x="135889" y="1359153"/>
                  </a:lnTo>
                  <a:lnTo>
                    <a:pt x="3893693" y="1359153"/>
                  </a:lnTo>
                  <a:lnTo>
                    <a:pt x="3936647" y="1352226"/>
                  </a:lnTo>
                  <a:lnTo>
                    <a:pt x="3973950" y="1332937"/>
                  </a:lnTo>
                  <a:lnTo>
                    <a:pt x="4003366" y="1303521"/>
                  </a:lnTo>
                  <a:lnTo>
                    <a:pt x="4022655" y="1266218"/>
                  </a:lnTo>
                  <a:lnTo>
                    <a:pt x="4029582" y="1223264"/>
                  </a:lnTo>
                  <a:lnTo>
                    <a:pt x="4029582" y="135889"/>
                  </a:lnTo>
                  <a:lnTo>
                    <a:pt x="4022655" y="92935"/>
                  </a:lnTo>
                  <a:lnTo>
                    <a:pt x="4003366" y="55632"/>
                  </a:lnTo>
                  <a:lnTo>
                    <a:pt x="3973950" y="26216"/>
                  </a:lnTo>
                  <a:lnTo>
                    <a:pt x="3936647" y="6927"/>
                  </a:lnTo>
                  <a:lnTo>
                    <a:pt x="3893693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522853" y="1952497"/>
              <a:ext cx="4029710" cy="1359535"/>
            </a:xfrm>
            <a:custGeom>
              <a:avLst/>
              <a:gdLst/>
              <a:ahLst/>
              <a:cxnLst/>
              <a:rect l="l" t="t" r="r" b="b"/>
              <a:pathLst>
                <a:path w="4029709" h="1359535">
                  <a:moveTo>
                    <a:pt x="0" y="135889"/>
                  </a:moveTo>
                  <a:lnTo>
                    <a:pt x="6927" y="92935"/>
                  </a:lnTo>
                  <a:lnTo>
                    <a:pt x="26216" y="55632"/>
                  </a:lnTo>
                  <a:lnTo>
                    <a:pt x="55632" y="26216"/>
                  </a:lnTo>
                  <a:lnTo>
                    <a:pt x="92935" y="6927"/>
                  </a:lnTo>
                  <a:lnTo>
                    <a:pt x="135889" y="0"/>
                  </a:lnTo>
                  <a:lnTo>
                    <a:pt x="3893693" y="0"/>
                  </a:lnTo>
                  <a:lnTo>
                    <a:pt x="3936647" y="6927"/>
                  </a:lnTo>
                  <a:lnTo>
                    <a:pt x="3973950" y="26216"/>
                  </a:lnTo>
                  <a:lnTo>
                    <a:pt x="4003366" y="55632"/>
                  </a:lnTo>
                  <a:lnTo>
                    <a:pt x="4022655" y="92935"/>
                  </a:lnTo>
                  <a:lnTo>
                    <a:pt x="4029582" y="135889"/>
                  </a:lnTo>
                  <a:lnTo>
                    <a:pt x="4029582" y="1223264"/>
                  </a:lnTo>
                  <a:lnTo>
                    <a:pt x="4022655" y="1266218"/>
                  </a:lnTo>
                  <a:lnTo>
                    <a:pt x="4003366" y="1303521"/>
                  </a:lnTo>
                  <a:lnTo>
                    <a:pt x="3973950" y="1332937"/>
                  </a:lnTo>
                  <a:lnTo>
                    <a:pt x="3936647" y="1352226"/>
                  </a:lnTo>
                  <a:lnTo>
                    <a:pt x="3893693" y="1359153"/>
                  </a:lnTo>
                  <a:lnTo>
                    <a:pt x="135889" y="1359153"/>
                  </a:lnTo>
                  <a:lnTo>
                    <a:pt x="92935" y="1352226"/>
                  </a:lnTo>
                  <a:lnTo>
                    <a:pt x="55632" y="1332937"/>
                  </a:lnTo>
                  <a:lnTo>
                    <a:pt x="26216" y="1303521"/>
                  </a:lnTo>
                  <a:lnTo>
                    <a:pt x="6927" y="1266218"/>
                  </a:lnTo>
                  <a:lnTo>
                    <a:pt x="0" y="1223264"/>
                  </a:lnTo>
                  <a:lnTo>
                    <a:pt x="0" y="135889"/>
                  </a:lnTo>
                  <a:close/>
                </a:path>
              </a:pathLst>
            </a:custGeom>
            <a:ln w="9525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4118609" y="2392172"/>
            <a:ext cx="2840990" cy="406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500" spc="-10" dirty="0">
                <a:latin typeface="Calibri"/>
                <a:cs typeface="Calibri"/>
              </a:rPr>
              <a:t>ЕДИНАЯ</a:t>
            </a:r>
            <a:r>
              <a:rPr sz="2500" spc="-55" dirty="0">
                <a:latin typeface="Calibri"/>
                <a:cs typeface="Calibri"/>
              </a:rPr>
              <a:t> </a:t>
            </a:r>
            <a:r>
              <a:rPr sz="2500" spc="-25" dirty="0">
                <a:latin typeface="Calibri"/>
                <a:cs typeface="Calibri"/>
              </a:rPr>
              <a:t>ПРОЦЕДУРА</a:t>
            </a:r>
            <a:endParaRPr sz="2500">
              <a:latin typeface="Calibri"/>
              <a:cs typeface="Calibri"/>
            </a:endParaRPr>
          </a:p>
        </p:txBody>
      </p:sp>
      <p:grpSp>
        <p:nvGrpSpPr>
          <p:cNvPr id="13" name="object 13"/>
          <p:cNvGrpSpPr/>
          <p:nvPr/>
        </p:nvGrpSpPr>
        <p:grpSpPr>
          <a:xfrm>
            <a:off x="2866644" y="3675888"/>
            <a:ext cx="2438400" cy="1622425"/>
            <a:chOff x="2866644" y="3675888"/>
            <a:chExt cx="2438400" cy="1622425"/>
          </a:xfrm>
        </p:grpSpPr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866644" y="3675888"/>
              <a:ext cx="2244852" cy="1458468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3159379" y="3934206"/>
              <a:ext cx="2140585" cy="1359535"/>
            </a:xfrm>
            <a:custGeom>
              <a:avLst/>
              <a:gdLst/>
              <a:ahLst/>
              <a:cxnLst/>
              <a:rect l="l" t="t" r="r" b="b"/>
              <a:pathLst>
                <a:path w="2140585" h="1359535">
                  <a:moveTo>
                    <a:pt x="2004568" y="0"/>
                  </a:moveTo>
                  <a:lnTo>
                    <a:pt x="135890" y="0"/>
                  </a:lnTo>
                  <a:lnTo>
                    <a:pt x="92935" y="6927"/>
                  </a:lnTo>
                  <a:lnTo>
                    <a:pt x="55632" y="26216"/>
                  </a:lnTo>
                  <a:lnTo>
                    <a:pt x="26216" y="55632"/>
                  </a:lnTo>
                  <a:lnTo>
                    <a:pt x="6927" y="92935"/>
                  </a:lnTo>
                  <a:lnTo>
                    <a:pt x="0" y="135890"/>
                  </a:lnTo>
                  <a:lnTo>
                    <a:pt x="0" y="1223264"/>
                  </a:lnTo>
                  <a:lnTo>
                    <a:pt x="6927" y="1266218"/>
                  </a:lnTo>
                  <a:lnTo>
                    <a:pt x="26216" y="1303521"/>
                  </a:lnTo>
                  <a:lnTo>
                    <a:pt x="55632" y="1332937"/>
                  </a:lnTo>
                  <a:lnTo>
                    <a:pt x="92935" y="1352226"/>
                  </a:lnTo>
                  <a:lnTo>
                    <a:pt x="135890" y="1359154"/>
                  </a:lnTo>
                  <a:lnTo>
                    <a:pt x="2004568" y="1359154"/>
                  </a:lnTo>
                  <a:lnTo>
                    <a:pt x="2047522" y="1352226"/>
                  </a:lnTo>
                  <a:lnTo>
                    <a:pt x="2084825" y="1332937"/>
                  </a:lnTo>
                  <a:lnTo>
                    <a:pt x="2114241" y="1303521"/>
                  </a:lnTo>
                  <a:lnTo>
                    <a:pt x="2133530" y="1266218"/>
                  </a:lnTo>
                  <a:lnTo>
                    <a:pt x="2140458" y="1223264"/>
                  </a:lnTo>
                  <a:lnTo>
                    <a:pt x="2140458" y="135890"/>
                  </a:lnTo>
                  <a:lnTo>
                    <a:pt x="2133530" y="92935"/>
                  </a:lnTo>
                  <a:lnTo>
                    <a:pt x="2114241" y="55632"/>
                  </a:lnTo>
                  <a:lnTo>
                    <a:pt x="2084825" y="26216"/>
                  </a:lnTo>
                  <a:lnTo>
                    <a:pt x="2047522" y="6927"/>
                  </a:lnTo>
                  <a:lnTo>
                    <a:pt x="2004568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3159379" y="3934206"/>
              <a:ext cx="2140585" cy="1359535"/>
            </a:xfrm>
            <a:custGeom>
              <a:avLst/>
              <a:gdLst/>
              <a:ahLst/>
              <a:cxnLst/>
              <a:rect l="l" t="t" r="r" b="b"/>
              <a:pathLst>
                <a:path w="2140585" h="1359535">
                  <a:moveTo>
                    <a:pt x="0" y="135890"/>
                  </a:moveTo>
                  <a:lnTo>
                    <a:pt x="6927" y="92935"/>
                  </a:lnTo>
                  <a:lnTo>
                    <a:pt x="26216" y="55632"/>
                  </a:lnTo>
                  <a:lnTo>
                    <a:pt x="55632" y="26216"/>
                  </a:lnTo>
                  <a:lnTo>
                    <a:pt x="92935" y="6927"/>
                  </a:lnTo>
                  <a:lnTo>
                    <a:pt x="135890" y="0"/>
                  </a:lnTo>
                  <a:lnTo>
                    <a:pt x="2004568" y="0"/>
                  </a:lnTo>
                  <a:lnTo>
                    <a:pt x="2047522" y="6927"/>
                  </a:lnTo>
                  <a:lnTo>
                    <a:pt x="2084825" y="26216"/>
                  </a:lnTo>
                  <a:lnTo>
                    <a:pt x="2114241" y="55632"/>
                  </a:lnTo>
                  <a:lnTo>
                    <a:pt x="2133530" y="92935"/>
                  </a:lnTo>
                  <a:lnTo>
                    <a:pt x="2140458" y="135890"/>
                  </a:lnTo>
                  <a:lnTo>
                    <a:pt x="2140458" y="1223264"/>
                  </a:lnTo>
                  <a:lnTo>
                    <a:pt x="2133530" y="1266218"/>
                  </a:lnTo>
                  <a:lnTo>
                    <a:pt x="2114241" y="1303521"/>
                  </a:lnTo>
                  <a:lnTo>
                    <a:pt x="2084825" y="1332937"/>
                  </a:lnTo>
                  <a:lnTo>
                    <a:pt x="2047522" y="1352226"/>
                  </a:lnTo>
                  <a:lnTo>
                    <a:pt x="2004568" y="1359154"/>
                  </a:lnTo>
                  <a:lnTo>
                    <a:pt x="135890" y="1359154"/>
                  </a:lnTo>
                  <a:lnTo>
                    <a:pt x="92935" y="1352226"/>
                  </a:lnTo>
                  <a:lnTo>
                    <a:pt x="55632" y="1332937"/>
                  </a:lnTo>
                  <a:lnTo>
                    <a:pt x="26216" y="1303521"/>
                  </a:lnTo>
                  <a:lnTo>
                    <a:pt x="6927" y="1266218"/>
                  </a:lnTo>
                  <a:lnTo>
                    <a:pt x="0" y="1223264"/>
                  </a:lnTo>
                  <a:lnTo>
                    <a:pt x="0" y="135890"/>
                  </a:lnTo>
                  <a:close/>
                </a:path>
              </a:pathLst>
            </a:custGeom>
            <a:ln w="9525">
              <a:solidFill>
                <a:srgbClr val="6FB7C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3263265" y="4010659"/>
            <a:ext cx="1934210" cy="11620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05" algn="ctr">
              <a:lnSpc>
                <a:spcPts val="1835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лица,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которому</a:t>
            </a:r>
            <a:endParaRPr sz="1600">
              <a:latin typeface="Calibri"/>
              <a:cs typeface="Calibri"/>
            </a:endParaRPr>
          </a:p>
          <a:p>
            <a:pPr marL="90170" marR="83185" indent="-635" algn="ctr">
              <a:lnSpc>
                <a:spcPts val="1760"/>
              </a:lnSpc>
              <a:spcBef>
                <a:spcPts val="110"/>
              </a:spcBef>
            </a:pPr>
            <a:r>
              <a:rPr sz="1600" spc="-10" dirty="0">
                <a:latin typeface="Calibri"/>
                <a:cs typeface="Calibri"/>
              </a:rPr>
              <a:t>земельный участок 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предоставлен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spc="-3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НВ</a:t>
            </a:r>
            <a:endParaRPr sz="1600">
              <a:latin typeface="Calibri"/>
              <a:cs typeface="Calibri"/>
            </a:endParaRPr>
          </a:p>
          <a:p>
            <a:pPr algn="ctr">
              <a:lnSpc>
                <a:spcPts val="1645"/>
              </a:lnSpc>
            </a:pPr>
            <a:r>
              <a:rPr sz="1600" spc="-5" dirty="0">
                <a:latin typeface="Calibri"/>
                <a:cs typeface="Calibri"/>
              </a:rPr>
              <a:t>или</a:t>
            </a:r>
            <a:r>
              <a:rPr sz="1600" spc="-25" dirty="0">
                <a:latin typeface="Calibri"/>
                <a:cs typeface="Calibri"/>
              </a:rPr>
              <a:t> </a:t>
            </a:r>
            <a:r>
              <a:rPr sz="1600" dirty="0">
                <a:latin typeface="Calibri"/>
                <a:cs typeface="Calibri"/>
              </a:rPr>
              <a:t>ПБП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(при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разделе</a:t>
            </a:r>
            <a:endParaRPr sz="1600">
              <a:latin typeface="Calibri"/>
              <a:cs typeface="Calibri"/>
            </a:endParaRPr>
          </a:p>
          <a:p>
            <a:pPr marL="1270" algn="ctr">
              <a:lnSpc>
                <a:spcPts val="1839"/>
              </a:lnSpc>
            </a:pPr>
            <a:r>
              <a:rPr sz="1600" spc="-5" dirty="0">
                <a:latin typeface="Calibri"/>
                <a:cs typeface="Calibri"/>
              </a:rPr>
              <a:t>или</a:t>
            </a:r>
            <a:r>
              <a:rPr sz="1600" spc="31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бъединении)</a:t>
            </a:r>
            <a:endParaRPr sz="1600">
              <a:latin typeface="Calibri"/>
              <a:cs typeface="Calibri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5481828" y="3675888"/>
            <a:ext cx="2439035" cy="1622425"/>
            <a:chOff x="5481828" y="3675888"/>
            <a:chExt cx="2439035" cy="1622425"/>
          </a:xfrm>
        </p:grpSpPr>
        <p:pic>
          <p:nvPicPr>
            <p:cNvPr id="19" name="object 1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481828" y="3675888"/>
              <a:ext cx="2244852" cy="1458468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5775452" y="3934206"/>
              <a:ext cx="2140585" cy="1359535"/>
            </a:xfrm>
            <a:custGeom>
              <a:avLst/>
              <a:gdLst/>
              <a:ahLst/>
              <a:cxnLst/>
              <a:rect l="l" t="t" r="r" b="b"/>
              <a:pathLst>
                <a:path w="2140584" h="1359535">
                  <a:moveTo>
                    <a:pt x="2004568" y="0"/>
                  </a:moveTo>
                  <a:lnTo>
                    <a:pt x="135889" y="0"/>
                  </a:lnTo>
                  <a:lnTo>
                    <a:pt x="92935" y="6927"/>
                  </a:lnTo>
                  <a:lnTo>
                    <a:pt x="55632" y="26216"/>
                  </a:lnTo>
                  <a:lnTo>
                    <a:pt x="26216" y="55632"/>
                  </a:lnTo>
                  <a:lnTo>
                    <a:pt x="6927" y="92935"/>
                  </a:lnTo>
                  <a:lnTo>
                    <a:pt x="0" y="135890"/>
                  </a:lnTo>
                  <a:lnTo>
                    <a:pt x="0" y="1223264"/>
                  </a:lnTo>
                  <a:lnTo>
                    <a:pt x="6927" y="1266218"/>
                  </a:lnTo>
                  <a:lnTo>
                    <a:pt x="26216" y="1303521"/>
                  </a:lnTo>
                  <a:lnTo>
                    <a:pt x="55632" y="1332937"/>
                  </a:lnTo>
                  <a:lnTo>
                    <a:pt x="92935" y="1352226"/>
                  </a:lnTo>
                  <a:lnTo>
                    <a:pt x="135889" y="1359154"/>
                  </a:lnTo>
                  <a:lnTo>
                    <a:pt x="2004568" y="1359154"/>
                  </a:lnTo>
                  <a:lnTo>
                    <a:pt x="2047522" y="1352226"/>
                  </a:lnTo>
                  <a:lnTo>
                    <a:pt x="2084825" y="1332937"/>
                  </a:lnTo>
                  <a:lnTo>
                    <a:pt x="2114241" y="1303521"/>
                  </a:lnTo>
                  <a:lnTo>
                    <a:pt x="2133530" y="1266218"/>
                  </a:lnTo>
                  <a:lnTo>
                    <a:pt x="2140457" y="1223264"/>
                  </a:lnTo>
                  <a:lnTo>
                    <a:pt x="2140457" y="135890"/>
                  </a:lnTo>
                  <a:lnTo>
                    <a:pt x="2133530" y="92935"/>
                  </a:lnTo>
                  <a:lnTo>
                    <a:pt x="2114241" y="55632"/>
                  </a:lnTo>
                  <a:lnTo>
                    <a:pt x="2084825" y="26216"/>
                  </a:lnTo>
                  <a:lnTo>
                    <a:pt x="2047522" y="6927"/>
                  </a:lnTo>
                  <a:lnTo>
                    <a:pt x="2004568" y="0"/>
                  </a:lnTo>
                  <a:close/>
                </a:path>
              </a:pathLst>
            </a:custGeom>
            <a:solidFill>
              <a:srgbClr val="FFFFFF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5775452" y="3934206"/>
              <a:ext cx="2140585" cy="1359535"/>
            </a:xfrm>
            <a:custGeom>
              <a:avLst/>
              <a:gdLst/>
              <a:ahLst/>
              <a:cxnLst/>
              <a:rect l="l" t="t" r="r" b="b"/>
              <a:pathLst>
                <a:path w="2140584" h="1359535">
                  <a:moveTo>
                    <a:pt x="0" y="135890"/>
                  </a:moveTo>
                  <a:lnTo>
                    <a:pt x="6927" y="92935"/>
                  </a:lnTo>
                  <a:lnTo>
                    <a:pt x="26216" y="55632"/>
                  </a:lnTo>
                  <a:lnTo>
                    <a:pt x="55632" y="26216"/>
                  </a:lnTo>
                  <a:lnTo>
                    <a:pt x="92935" y="6927"/>
                  </a:lnTo>
                  <a:lnTo>
                    <a:pt x="135889" y="0"/>
                  </a:lnTo>
                  <a:lnTo>
                    <a:pt x="2004568" y="0"/>
                  </a:lnTo>
                  <a:lnTo>
                    <a:pt x="2047522" y="6927"/>
                  </a:lnTo>
                  <a:lnTo>
                    <a:pt x="2084825" y="26216"/>
                  </a:lnTo>
                  <a:lnTo>
                    <a:pt x="2114241" y="55632"/>
                  </a:lnTo>
                  <a:lnTo>
                    <a:pt x="2133530" y="92935"/>
                  </a:lnTo>
                  <a:lnTo>
                    <a:pt x="2140457" y="135890"/>
                  </a:lnTo>
                  <a:lnTo>
                    <a:pt x="2140457" y="1223264"/>
                  </a:lnTo>
                  <a:lnTo>
                    <a:pt x="2133530" y="1266218"/>
                  </a:lnTo>
                  <a:lnTo>
                    <a:pt x="2114241" y="1303521"/>
                  </a:lnTo>
                  <a:lnTo>
                    <a:pt x="2084825" y="1332937"/>
                  </a:lnTo>
                  <a:lnTo>
                    <a:pt x="2047522" y="1352226"/>
                  </a:lnTo>
                  <a:lnTo>
                    <a:pt x="2004568" y="1359154"/>
                  </a:lnTo>
                  <a:lnTo>
                    <a:pt x="135889" y="1359154"/>
                  </a:lnTo>
                  <a:lnTo>
                    <a:pt x="92935" y="1352226"/>
                  </a:lnTo>
                  <a:lnTo>
                    <a:pt x="55632" y="1332937"/>
                  </a:lnTo>
                  <a:lnTo>
                    <a:pt x="26216" y="1303521"/>
                  </a:lnTo>
                  <a:lnTo>
                    <a:pt x="6927" y="1266218"/>
                  </a:lnTo>
                  <a:lnTo>
                    <a:pt x="0" y="1223264"/>
                  </a:lnTo>
                  <a:lnTo>
                    <a:pt x="0" y="135890"/>
                  </a:lnTo>
                  <a:close/>
                </a:path>
              </a:pathLst>
            </a:custGeom>
            <a:ln w="9525">
              <a:solidFill>
                <a:srgbClr val="6FB7C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object 22"/>
          <p:cNvSpPr txBox="1"/>
          <p:nvPr/>
        </p:nvSpPr>
        <p:spPr>
          <a:xfrm>
            <a:off x="5884545" y="4233798"/>
            <a:ext cx="1921510" cy="7156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ts val="1835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кадастровый</a:t>
            </a:r>
            <a:endParaRPr sz="1600">
              <a:latin typeface="Calibri"/>
              <a:cs typeface="Calibri"/>
            </a:endParaRPr>
          </a:p>
          <a:p>
            <a:pPr marL="12700" marR="5080" algn="ctr">
              <a:lnSpc>
                <a:spcPts val="1760"/>
              </a:lnSpc>
              <a:spcBef>
                <a:spcPts val="110"/>
              </a:spcBef>
            </a:pPr>
            <a:r>
              <a:rPr sz="1600" spc="-10" dirty="0">
                <a:latin typeface="Calibri"/>
                <a:cs typeface="Calibri"/>
              </a:rPr>
              <a:t>инженер </a:t>
            </a:r>
            <a:r>
              <a:rPr sz="1600" spc="-25" dirty="0">
                <a:latin typeface="Calibri"/>
                <a:cs typeface="Calibri"/>
              </a:rPr>
              <a:t>(ст.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36</a:t>
            </a:r>
            <a:r>
              <a:rPr sz="1600" spc="-10" dirty="0">
                <a:latin typeface="Calibri"/>
                <a:cs typeface="Calibri"/>
              </a:rPr>
              <a:t> ФЗ от </a:t>
            </a:r>
            <a:r>
              <a:rPr sz="1600" spc="-35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24.07.2007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№ </a:t>
            </a:r>
            <a:r>
              <a:rPr sz="1600" spc="-10" dirty="0">
                <a:latin typeface="Calibri"/>
                <a:cs typeface="Calibri"/>
              </a:rPr>
              <a:t>221-ФЗ)</a:t>
            </a:r>
            <a:endParaRPr sz="1600">
              <a:latin typeface="Calibri"/>
              <a:cs typeface="Calibri"/>
            </a:endParaRPr>
          </a:p>
        </p:txBody>
      </p:sp>
      <p:pic>
        <p:nvPicPr>
          <p:cNvPr id="23" name="object 2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91084" y="1051560"/>
            <a:ext cx="2258567" cy="1144524"/>
          </a:xfrm>
          <a:prstGeom prst="rect">
            <a:avLst/>
          </a:prstGeom>
        </p:spPr>
      </p:pic>
      <p:sp>
        <p:nvSpPr>
          <p:cNvPr id="24" name="object 24"/>
          <p:cNvSpPr txBox="1"/>
          <p:nvPr/>
        </p:nvSpPr>
        <p:spPr>
          <a:xfrm>
            <a:off x="572516" y="1846910"/>
            <a:ext cx="1677670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5" dirty="0">
                <a:solidFill>
                  <a:srgbClr val="4F81BC"/>
                </a:solidFill>
                <a:latin typeface="Calibri"/>
                <a:cs typeface="Calibri"/>
              </a:rPr>
              <a:t>Личный</a:t>
            </a:r>
            <a:r>
              <a:rPr sz="1800" b="1" spc="-50" dirty="0">
                <a:solidFill>
                  <a:srgbClr val="4F81BC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4F81BC"/>
                </a:solidFill>
                <a:latin typeface="Calibri"/>
                <a:cs typeface="Calibri"/>
              </a:rPr>
              <a:t>кабинет</a:t>
            </a:r>
            <a:endParaRPr sz="1800">
              <a:latin typeface="Calibri"/>
              <a:cs typeface="Calibri"/>
            </a:endParaRPr>
          </a:p>
        </p:txBody>
      </p:sp>
      <p:pic>
        <p:nvPicPr>
          <p:cNvPr id="25" name="object 25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19112" y="2852673"/>
            <a:ext cx="1619250" cy="657225"/>
          </a:xfrm>
          <a:prstGeom prst="rect">
            <a:avLst/>
          </a:prstGeom>
        </p:spPr>
      </p:pic>
      <p:sp>
        <p:nvSpPr>
          <p:cNvPr id="26" name="object 26"/>
          <p:cNvSpPr txBox="1"/>
          <p:nvPr/>
        </p:nvSpPr>
        <p:spPr>
          <a:xfrm>
            <a:off x="8706866" y="6484222"/>
            <a:ext cx="161290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425"/>
              </a:lnSpc>
            </a:pPr>
            <a:fld id="{81D60167-4931-47E6-BA6A-407CBD079E47}" type="slidenum"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8</a:t>
            </a:fld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5661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732266" y="6469786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solidFill>
                  <a:srgbClr val="888888"/>
                </a:solidFill>
                <a:latin typeface="Arial"/>
                <a:cs typeface="Arial"/>
              </a:rPr>
              <a:t>4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841375" y="168338"/>
            <a:ext cx="8315325" cy="6024245"/>
            <a:chOff x="841375" y="168338"/>
            <a:chExt cx="8315325" cy="6024245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51715" y="536912"/>
              <a:ext cx="8254893" cy="5655651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854075" y="181038"/>
              <a:ext cx="8289925" cy="655955"/>
            </a:xfrm>
            <a:custGeom>
              <a:avLst/>
              <a:gdLst/>
              <a:ahLst/>
              <a:cxnLst/>
              <a:rect l="l" t="t" r="r" b="b"/>
              <a:pathLst>
                <a:path w="8289925" h="655955">
                  <a:moveTo>
                    <a:pt x="8289925" y="0"/>
                  </a:moveTo>
                  <a:lnTo>
                    <a:pt x="0" y="0"/>
                  </a:lnTo>
                  <a:lnTo>
                    <a:pt x="0" y="655637"/>
                  </a:lnTo>
                  <a:lnTo>
                    <a:pt x="8289925" y="655637"/>
                  </a:lnTo>
                  <a:lnTo>
                    <a:pt x="82899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54075" y="181038"/>
              <a:ext cx="8289925" cy="655955"/>
            </a:xfrm>
            <a:custGeom>
              <a:avLst/>
              <a:gdLst/>
              <a:ahLst/>
              <a:cxnLst/>
              <a:rect l="l" t="t" r="r" b="b"/>
              <a:pathLst>
                <a:path w="8289925" h="655955">
                  <a:moveTo>
                    <a:pt x="0" y="655637"/>
                  </a:moveTo>
                  <a:lnTo>
                    <a:pt x="8289925" y="655637"/>
                  </a:lnTo>
                  <a:lnTo>
                    <a:pt x="8289925" y="0"/>
                  </a:lnTo>
                  <a:lnTo>
                    <a:pt x="0" y="0"/>
                  </a:lnTo>
                  <a:lnTo>
                    <a:pt x="0" y="655637"/>
                  </a:lnTo>
                  <a:close/>
                </a:path>
              </a:pathLst>
            </a:custGeom>
            <a:ln w="254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933094" y="133299"/>
            <a:ext cx="7973059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sz="2500" b="1" spc="-5" dirty="0"/>
              <a:t>Лица, </a:t>
            </a:r>
            <a:r>
              <a:rPr sz="2500" b="1" spc="-10" dirty="0"/>
              <a:t>по</a:t>
            </a:r>
            <a:r>
              <a:rPr sz="2500" b="1" spc="5" dirty="0"/>
              <a:t> </a:t>
            </a:r>
            <a:r>
              <a:rPr sz="2500" b="1" spc="-5" dirty="0"/>
              <a:t>заявлению </a:t>
            </a:r>
            <a:r>
              <a:rPr sz="2500" b="1" spc="-15" dirty="0"/>
              <a:t>которых</a:t>
            </a:r>
            <a:r>
              <a:rPr sz="2500" b="1" spc="10" dirty="0"/>
              <a:t> </a:t>
            </a:r>
            <a:r>
              <a:rPr sz="2500" b="1" spc="-10" dirty="0"/>
              <a:t>осуществляются</a:t>
            </a:r>
            <a:r>
              <a:rPr sz="2500" b="1" spc="40" dirty="0"/>
              <a:t> </a:t>
            </a:r>
            <a:r>
              <a:rPr sz="2500" b="1" spc="-5" dirty="0"/>
              <a:t>ГКУ и</a:t>
            </a:r>
            <a:r>
              <a:rPr sz="2500" b="1" spc="-15" dirty="0"/>
              <a:t> </a:t>
            </a:r>
            <a:r>
              <a:rPr sz="2500" b="1" spc="-5" dirty="0"/>
              <a:t>(или) </a:t>
            </a:r>
            <a:r>
              <a:rPr sz="2500" b="1" spc="-550" dirty="0"/>
              <a:t> </a:t>
            </a:r>
            <a:r>
              <a:rPr sz="2500" b="1" spc="-10" dirty="0"/>
              <a:t>ГРП</a:t>
            </a:r>
            <a:r>
              <a:rPr sz="2500" b="1" spc="-25" dirty="0"/>
              <a:t> </a:t>
            </a:r>
            <a:r>
              <a:rPr sz="2500" b="1" spc="-15" dirty="0"/>
              <a:t>земельных</a:t>
            </a:r>
            <a:r>
              <a:rPr sz="2500" b="1" spc="25" dirty="0"/>
              <a:t> </a:t>
            </a:r>
            <a:r>
              <a:rPr sz="2500" b="1" spc="-10" dirty="0"/>
              <a:t>участков</a:t>
            </a:r>
            <a:endParaRPr sz="2500" b="1" dirty="0"/>
          </a:p>
        </p:txBody>
      </p:sp>
      <p:grpSp>
        <p:nvGrpSpPr>
          <p:cNvPr id="8" name="object 8"/>
          <p:cNvGrpSpPr/>
          <p:nvPr/>
        </p:nvGrpSpPr>
        <p:grpSpPr>
          <a:xfrm>
            <a:off x="1739773" y="1119505"/>
            <a:ext cx="5657850" cy="1672589"/>
            <a:chOff x="1739773" y="1119505"/>
            <a:chExt cx="5657850" cy="1672589"/>
          </a:xfrm>
        </p:grpSpPr>
        <p:sp>
          <p:nvSpPr>
            <p:cNvPr id="9" name="object 9"/>
            <p:cNvSpPr/>
            <p:nvPr/>
          </p:nvSpPr>
          <p:spPr>
            <a:xfrm>
              <a:off x="1752473" y="1132205"/>
              <a:ext cx="5632450" cy="622935"/>
            </a:xfrm>
            <a:custGeom>
              <a:avLst/>
              <a:gdLst/>
              <a:ahLst/>
              <a:cxnLst/>
              <a:rect l="l" t="t" r="r" b="b"/>
              <a:pathLst>
                <a:path w="5632450" h="622935">
                  <a:moveTo>
                    <a:pt x="5569584" y="0"/>
                  </a:moveTo>
                  <a:lnTo>
                    <a:pt x="62229" y="0"/>
                  </a:lnTo>
                  <a:lnTo>
                    <a:pt x="37986" y="4883"/>
                  </a:lnTo>
                  <a:lnTo>
                    <a:pt x="18208" y="18208"/>
                  </a:lnTo>
                  <a:lnTo>
                    <a:pt x="4883" y="37986"/>
                  </a:lnTo>
                  <a:lnTo>
                    <a:pt x="0" y="62230"/>
                  </a:lnTo>
                  <a:lnTo>
                    <a:pt x="0" y="560197"/>
                  </a:lnTo>
                  <a:lnTo>
                    <a:pt x="4883" y="584386"/>
                  </a:lnTo>
                  <a:lnTo>
                    <a:pt x="18208" y="604170"/>
                  </a:lnTo>
                  <a:lnTo>
                    <a:pt x="37986" y="617525"/>
                  </a:lnTo>
                  <a:lnTo>
                    <a:pt x="62229" y="622427"/>
                  </a:lnTo>
                  <a:lnTo>
                    <a:pt x="5569584" y="622427"/>
                  </a:lnTo>
                  <a:lnTo>
                    <a:pt x="5593847" y="617525"/>
                  </a:lnTo>
                  <a:lnTo>
                    <a:pt x="5613669" y="604170"/>
                  </a:lnTo>
                  <a:lnTo>
                    <a:pt x="5627038" y="584386"/>
                  </a:lnTo>
                  <a:lnTo>
                    <a:pt x="5631942" y="560197"/>
                  </a:lnTo>
                  <a:lnTo>
                    <a:pt x="5631942" y="62230"/>
                  </a:lnTo>
                  <a:lnTo>
                    <a:pt x="5627038" y="37986"/>
                  </a:lnTo>
                  <a:lnTo>
                    <a:pt x="5613669" y="18208"/>
                  </a:lnTo>
                  <a:lnTo>
                    <a:pt x="5593847" y="4883"/>
                  </a:lnTo>
                  <a:lnTo>
                    <a:pt x="55695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752473" y="1132205"/>
              <a:ext cx="5632450" cy="622935"/>
            </a:xfrm>
            <a:custGeom>
              <a:avLst/>
              <a:gdLst/>
              <a:ahLst/>
              <a:cxnLst/>
              <a:rect l="l" t="t" r="r" b="b"/>
              <a:pathLst>
                <a:path w="5632450" h="622935">
                  <a:moveTo>
                    <a:pt x="0" y="62230"/>
                  </a:moveTo>
                  <a:lnTo>
                    <a:pt x="4883" y="37986"/>
                  </a:lnTo>
                  <a:lnTo>
                    <a:pt x="18208" y="18208"/>
                  </a:lnTo>
                  <a:lnTo>
                    <a:pt x="37986" y="4883"/>
                  </a:lnTo>
                  <a:lnTo>
                    <a:pt x="62229" y="0"/>
                  </a:lnTo>
                  <a:lnTo>
                    <a:pt x="5569584" y="0"/>
                  </a:lnTo>
                  <a:lnTo>
                    <a:pt x="5593847" y="4883"/>
                  </a:lnTo>
                  <a:lnTo>
                    <a:pt x="5613669" y="18208"/>
                  </a:lnTo>
                  <a:lnTo>
                    <a:pt x="5627038" y="37986"/>
                  </a:lnTo>
                  <a:lnTo>
                    <a:pt x="5631942" y="62230"/>
                  </a:lnTo>
                  <a:lnTo>
                    <a:pt x="5631942" y="560197"/>
                  </a:lnTo>
                  <a:lnTo>
                    <a:pt x="5627038" y="584386"/>
                  </a:lnTo>
                  <a:lnTo>
                    <a:pt x="5613669" y="604170"/>
                  </a:lnTo>
                  <a:lnTo>
                    <a:pt x="5593847" y="617525"/>
                  </a:lnTo>
                  <a:lnTo>
                    <a:pt x="5569584" y="622427"/>
                  </a:lnTo>
                  <a:lnTo>
                    <a:pt x="62229" y="622427"/>
                  </a:lnTo>
                  <a:lnTo>
                    <a:pt x="37986" y="617525"/>
                  </a:lnTo>
                  <a:lnTo>
                    <a:pt x="18208" y="604170"/>
                  </a:lnTo>
                  <a:lnTo>
                    <a:pt x="4883" y="584386"/>
                  </a:lnTo>
                  <a:lnTo>
                    <a:pt x="0" y="560197"/>
                  </a:lnTo>
                  <a:lnTo>
                    <a:pt x="0" y="6223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990471" y="1910842"/>
              <a:ext cx="868172" cy="868045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1990471" y="1910842"/>
              <a:ext cx="868680" cy="868044"/>
            </a:xfrm>
            <a:custGeom>
              <a:avLst/>
              <a:gdLst/>
              <a:ahLst/>
              <a:cxnLst/>
              <a:rect l="l" t="t" r="r" b="b"/>
              <a:pathLst>
                <a:path w="868680" h="868044">
                  <a:moveTo>
                    <a:pt x="0" y="144780"/>
                  </a:moveTo>
                  <a:lnTo>
                    <a:pt x="7376" y="98999"/>
                  </a:lnTo>
                  <a:lnTo>
                    <a:pt x="27919" y="59253"/>
                  </a:lnTo>
                  <a:lnTo>
                    <a:pt x="59253" y="27919"/>
                  </a:lnTo>
                  <a:lnTo>
                    <a:pt x="98999" y="7376"/>
                  </a:lnTo>
                  <a:lnTo>
                    <a:pt x="144780" y="0"/>
                  </a:lnTo>
                  <a:lnTo>
                    <a:pt x="723392" y="0"/>
                  </a:lnTo>
                  <a:lnTo>
                    <a:pt x="769124" y="7376"/>
                  </a:lnTo>
                  <a:lnTo>
                    <a:pt x="808864" y="27919"/>
                  </a:lnTo>
                  <a:lnTo>
                    <a:pt x="840215" y="59253"/>
                  </a:lnTo>
                  <a:lnTo>
                    <a:pt x="860783" y="98999"/>
                  </a:lnTo>
                  <a:lnTo>
                    <a:pt x="868172" y="144780"/>
                  </a:lnTo>
                  <a:lnTo>
                    <a:pt x="868172" y="723392"/>
                  </a:lnTo>
                  <a:lnTo>
                    <a:pt x="860783" y="769110"/>
                  </a:lnTo>
                  <a:lnTo>
                    <a:pt x="840215" y="808819"/>
                  </a:lnTo>
                  <a:lnTo>
                    <a:pt x="808864" y="840133"/>
                  </a:lnTo>
                  <a:lnTo>
                    <a:pt x="769124" y="860669"/>
                  </a:lnTo>
                  <a:lnTo>
                    <a:pt x="723392" y="868045"/>
                  </a:lnTo>
                  <a:lnTo>
                    <a:pt x="144780" y="868045"/>
                  </a:lnTo>
                  <a:lnTo>
                    <a:pt x="98999" y="860669"/>
                  </a:lnTo>
                  <a:lnTo>
                    <a:pt x="59253" y="840133"/>
                  </a:lnTo>
                  <a:lnTo>
                    <a:pt x="27919" y="808819"/>
                  </a:lnTo>
                  <a:lnTo>
                    <a:pt x="7376" y="769110"/>
                  </a:lnTo>
                  <a:lnTo>
                    <a:pt x="0" y="723392"/>
                  </a:lnTo>
                  <a:lnTo>
                    <a:pt x="0" y="14478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2905887" y="1910842"/>
              <a:ext cx="4240530" cy="868044"/>
            </a:xfrm>
            <a:custGeom>
              <a:avLst/>
              <a:gdLst/>
              <a:ahLst/>
              <a:cxnLst/>
              <a:rect l="l" t="t" r="r" b="b"/>
              <a:pathLst>
                <a:path w="4240530" h="868044">
                  <a:moveTo>
                    <a:pt x="4095749" y="0"/>
                  </a:moveTo>
                  <a:lnTo>
                    <a:pt x="144780" y="0"/>
                  </a:lnTo>
                  <a:lnTo>
                    <a:pt x="98999" y="7376"/>
                  </a:lnTo>
                  <a:lnTo>
                    <a:pt x="59253" y="27919"/>
                  </a:lnTo>
                  <a:lnTo>
                    <a:pt x="27919" y="59253"/>
                  </a:lnTo>
                  <a:lnTo>
                    <a:pt x="7376" y="98999"/>
                  </a:lnTo>
                  <a:lnTo>
                    <a:pt x="0" y="144780"/>
                  </a:lnTo>
                  <a:lnTo>
                    <a:pt x="0" y="723392"/>
                  </a:lnTo>
                  <a:lnTo>
                    <a:pt x="7376" y="769110"/>
                  </a:lnTo>
                  <a:lnTo>
                    <a:pt x="27919" y="808819"/>
                  </a:lnTo>
                  <a:lnTo>
                    <a:pt x="59253" y="840133"/>
                  </a:lnTo>
                  <a:lnTo>
                    <a:pt x="98999" y="860669"/>
                  </a:lnTo>
                  <a:lnTo>
                    <a:pt x="144780" y="868045"/>
                  </a:lnTo>
                  <a:lnTo>
                    <a:pt x="4095749" y="868045"/>
                  </a:lnTo>
                  <a:lnTo>
                    <a:pt x="4141468" y="860669"/>
                  </a:lnTo>
                  <a:lnTo>
                    <a:pt x="4181177" y="840133"/>
                  </a:lnTo>
                  <a:lnTo>
                    <a:pt x="4212491" y="808819"/>
                  </a:lnTo>
                  <a:lnTo>
                    <a:pt x="4233027" y="769110"/>
                  </a:lnTo>
                  <a:lnTo>
                    <a:pt x="4240403" y="723392"/>
                  </a:lnTo>
                  <a:lnTo>
                    <a:pt x="4240403" y="144780"/>
                  </a:lnTo>
                  <a:lnTo>
                    <a:pt x="4233027" y="98999"/>
                  </a:lnTo>
                  <a:lnTo>
                    <a:pt x="4212491" y="59253"/>
                  </a:lnTo>
                  <a:lnTo>
                    <a:pt x="4181177" y="27919"/>
                  </a:lnTo>
                  <a:lnTo>
                    <a:pt x="4141468" y="7376"/>
                  </a:lnTo>
                  <a:lnTo>
                    <a:pt x="409574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2905887" y="1910842"/>
              <a:ext cx="4240530" cy="868044"/>
            </a:xfrm>
            <a:custGeom>
              <a:avLst/>
              <a:gdLst/>
              <a:ahLst/>
              <a:cxnLst/>
              <a:rect l="l" t="t" r="r" b="b"/>
              <a:pathLst>
                <a:path w="4240530" h="868044">
                  <a:moveTo>
                    <a:pt x="0" y="144780"/>
                  </a:moveTo>
                  <a:lnTo>
                    <a:pt x="7376" y="98999"/>
                  </a:lnTo>
                  <a:lnTo>
                    <a:pt x="27919" y="59253"/>
                  </a:lnTo>
                  <a:lnTo>
                    <a:pt x="59253" y="27919"/>
                  </a:lnTo>
                  <a:lnTo>
                    <a:pt x="98999" y="7376"/>
                  </a:lnTo>
                  <a:lnTo>
                    <a:pt x="144780" y="0"/>
                  </a:lnTo>
                  <a:lnTo>
                    <a:pt x="4095749" y="0"/>
                  </a:lnTo>
                  <a:lnTo>
                    <a:pt x="4141468" y="7376"/>
                  </a:lnTo>
                  <a:lnTo>
                    <a:pt x="4181177" y="27919"/>
                  </a:lnTo>
                  <a:lnTo>
                    <a:pt x="4212491" y="59253"/>
                  </a:lnTo>
                  <a:lnTo>
                    <a:pt x="4233027" y="98999"/>
                  </a:lnTo>
                  <a:lnTo>
                    <a:pt x="4240403" y="144780"/>
                  </a:lnTo>
                  <a:lnTo>
                    <a:pt x="4240403" y="723392"/>
                  </a:lnTo>
                  <a:lnTo>
                    <a:pt x="4233027" y="769110"/>
                  </a:lnTo>
                  <a:lnTo>
                    <a:pt x="4212491" y="808819"/>
                  </a:lnTo>
                  <a:lnTo>
                    <a:pt x="4181177" y="840133"/>
                  </a:lnTo>
                  <a:lnTo>
                    <a:pt x="4141468" y="860669"/>
                  </a:lnTo>
                  <a:lnTo>
                    <a:pt x="4095749" y="868045"/>
                  </a:lnTo>
                  <a:lnTo>
                    <a:pt x="144780" y="868045"/>
                  </a:lnTo>
                  <a:lnTo>
                    <a:pt x="98999" y="860669"/>
                  </a:lnTo>
                  <a:lnTo>
                    <a:pt x="59253" y="840133"/>
                  </a:lnTo>
                  <a:lnTo>
                    <a:pt x="27919" y="808819"/>
                  </a:lnTo>
                  <a:lnTo>
                    <a:pt x="7376" y="769110"/>
                  </a:lnTo>
                  <a:lnTo>
                    <a:pt x="0" y="723392"/>
                  </a:lnTo>
                  <a:lnTo>
                    <a:pt x="0" y="14478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895092" y="1086381"/>
            <a:ext cx="4035425" cy="1513205"/>
          </a:xfrm>
          <a:prstGeom prst="rect">
            <a:avLst/>
          </a:prstGeom>
        </p:spPr>
        <p:txBody>
          <a:bodyPr vert="horz" wrap="square" lIns="0" tIns="74930" rIns="0" bIns="0" rtlCol="0">
            <a:spAutoFit/>
          </a:bodyPr>
          <a:lstStyle/>
          <a:p>
            <a:pPr marR="681355" algn="ctr">
              <a:lnSpc>
                <a:spcPct val="100000"/>
              </a:lnSpc>
              <a:spcBef>
                <a:spcPts val="590"/>
              </a:spcBef>
            </a:pPr>
            <a:r>
              <a:rPr sz="1500" spc="-15" dirty="0">
                <a:latin typeface="Calibri"/>
                <a:cs typeface="Calibri"/>
              </a:rPr>
              <a:t>ГОСУДАРСТВЕННЫЙ</a:t>
            </a:r>
            <a:r>
              <a:rPr sz="1500" spc="-35" dirty="0">
                <a:latin typeface="Calibri"/>
                <a:cs typeface="Calibri"/>
              </a:rPr>
              <a:t> </a:t>
            </a:r>
            <a:r>
              <a:rPr sz="1500" spc="-10" dirty="0">
                <a:latin typeface="Calibri"/>
                <a:cs typeface="Calibri"/>
              </a:rPr>
              <a:t>КАДАСТРОВЫЙ</a:t>
            </a:r>
            <a:r>
              <a:rPr sz="1500" spc="-25" dirty="0">
                <a:latin typeface="Calibri"/>
                <a:cs typeface="Calibri"/>
              </a:rPr>
              <a:t> </a:t>
            </a:r>
            <a:r>
              <a:rPr sz="1500" spc="-10" dirty="0">
                <a:latin typeface="Calibri"/>
                <a:cs typeface="Calibri"/>
              </a:rPr>
              <a:t>УЧЕТ</a:t>
            </a:r>
            <a:endParaRPr sz="1500">
              <a:latin typeface="Calibri"/>
              <a:cs typeface="Calibri"/>
            </a:endParaRPr>
          </a:p>
          <a:p>
            <a:pPr marR="678815" algn="ctr">
              <a:lnSpc>
                <a:spcPct val="100000"/>
              </a:lnSpc>
              <a:spcBef>
                <a:spcPts val="495"/>
              </a:spcBef>
            </a:pPr>
            <a:r>
              <a:rPr sz="1500" i="1" dirty="0">
                <a:latin typeface="Calibri"/>
                <a:cs typeface="Calibri"/>
              </a:rPr>
              <a:t>без</a:t>
            </a:r>
            <a:r>
              <a:rPr sz="1500" i="1" spc="-40" dirty="0">
                <a:latin typeface="Calibri"/>
                <a:cs typeface="Calibri"/>
              </a:rPr>
              <a:t> </a:t>
            </a:r>
            <a:r>
              <a:rPr sz="1500" i="1" spc="-5" dirty="0">
                <a:latin typeface="Calibri"/>
                <a:cs typeface="Calibri"/>
              </a:rPr>
              <a:t>одновременной</a:t>
            </a:r>
            <a:r>
              <a:rPr sz="1500" i="1" spc="-10" dirty="0">
                <a:latin typeface="Calibri"/>
                <a:cs typeface="Calibri"/>
              </a:rPr>
              <a:t> </a:t>
            </a:r>
            <a:r>
              <a:rPr sz="1500" i="1" spc="-5" dirty="0">
                <a:latin typeface="Calibri"/>
                <a:cs typeface="Calibri"/>
              </a:rPr>
              <a:t>регистрации</a:t>
            </a:r>
            <a:endParaRPr sz="15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5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100">
              <a:latin typeface="Calibri"/>
              <a:cs typeface="Calibri"/>
            </a:endParaRPr>
          </a:p>
          <a:p>
            <a:pPr marL="237490" marR="5080" indent="147955">
              <a:lnSpc>
                <a:spcPts val="1320"/>
              </a:lnSpc>
            </a:pPr>
            <a:r>
              <a:rPr sz="1200" spc="-5" dirty="0">
                <a:latin typeface="Calibri"/>
                <a:cs typeface="Calibri"/>
              </a:rPr>
              <a:t>ОГВ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ли </a:t>
            </a:r>
            <a:r>
              <a:rPr sz="1200" spc="-5" dirty="0">
                <a:latin typeface="Calibri"/>
                <a:cs typeface="Calibri"/>
              </a:rPr>
              <a:t>ОМС, на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которые</a:t>
            </a:r>
            <a:r>
              <a:rPr sz="1200" spc="24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возложена </a:t>
            </a:r>
            <a:r>
              <a:rPr sz="1200" spc="-5" dirty="0">
                <a:latin typeface="Calibri"/>
                <a:cs typeface="Calibri"/>
              </a:rPr>
              <a:t>обязанность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о 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ю</a:t>
            </a:r>
            <a:r>
              <a:rPr sz="1200" spc="-10" dirty="0">
                <a:latin typeface="Calibri"/>
                <a:cs typeface="Calibri"/>
              </a:rPr>
              <a:t> земельных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астков,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тносящихся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к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бщему</a:t>
            </a:r>
            <a:endParaRPr sz="1200">
              <a:latin typeface="Calibri"/>
              <a:cs typeface="Calibri"/>
            </a:endParaRPr>
          </a:p>
          <a:p>
            <a:pPr marL="647700">
              <a:lnSpc>
                <a:spcPts val="1295"/>
              </a:lnSpc>
            </a:pPr>
            <a:r>
              <a:rPr sz="1200" spc="-5" dirty="0">
                <a:latin typeface="Calibri"/>
                <a:cs typeface="Calibri"/>
              </a:rPr>
              <a:t>имуществу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обственников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мещений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МКД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1982597" y="2870454"/>
            <a:ext cx="5176520" cy="893444"/>
            <a:chOff x="1982597" y="2870454"/>
            <a:chExt cx="5176520" cy="893444"/>
          </a:xfrm>
        </p:grpSpPr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995297" y="2883154"/>
              <a:ext cx="868044" cy="868045"/>
            </a:xfrm>
            <a:prstGeom prst="rect">
              <a:avLst/>
            </a:prstGeom>
          </p:spPr>
        </p:pic>
        <p:sp>
          <p:nvSpPr>
            <p:cNvPr id="18" name="object 18"/>
            <p:cNvSpPr/>
            <p:nvPr/>
          </p:nvSpPr>
          <p:spPr>
            <a:xfrm>
              <a:off x="1995297" y="2883154"/>
              <a:ext cx="868044" cy="868044"/>
            </a:xfrm>
            <a:custGeom>
              <a:avLst/>
              <a:gdLst/>
              <a:ahLst/>
              <a:cxnLst/>
              <a:rect l="l" t="t" r="r" b="b"/>
              <a:pathLst>
                <a:path w="868044" h="868045">
                  <a:moveTo>
                    <a:pt x="0" y="144653"/>
                  </a:moveTo>
                  <a:lnTo>
                    <a:pt x="7375" y="98934"/>
                  </a:lnTo>
                  <a:lnTo>
                    <a:pt x="27911" y="59225"/>
                  </a:lnTo>
                  <a:lnTo>
                    <a:pt x="59225" y="27911"/>
                  </a:lnTo>
                  <a:lnTo>
                    <a:pt x="98934" y="7375"/>
                  </a:lnTo>
                  <a:lnTo>
                    <a:pt x="144652" y="0"/>
                  </a:lnTo>
                  <a:lnTo>
                    <a:pt x="723391" y="0"/>
                  </a:lnTo>
                  <a:lnTo>
                    <a:pt x="769110" y="7375"/>
                  </a:lnTo>
                  <a:lnTo>
                    <a:pt x="808819" y="27911"/>
                  </a:lnTo>
                  <a:lnTo>
                    <a:pt x="840133" y="59225"/>
                  </a:lnTo>
                  <a:lnTo>
                    <a:pt x="860669" y="98934"/>
                  </a:lnTo>
                  <a:lnTo>
                    <a:pt x="868044" y="144653"/>
                  </a:lnTo>
                  <a:lnTo>
                    <a:pt x="868044" y="723392"/>
                  </a:lnTo>
                  <a:lnTo>
                    <a:pt x="860669" y="769110"/>
                  </a:lnTo>
                  <a:lnTo>
                    <a:pt x="840133" y="808819"/>
                  </a:lnTo>
                  <a:lnTo>
                    <a:pt x="808819" y="840133"/>
                  </a:lnTo>
                  <a:lnTo>
                    <a:pt x="769110" y="860669"/>
                  </a:lnTo>
                  <a:lnTo>
                    <a:pt x="723391" y="868045"/>
                  </a:lnTo>
                  <a:lnTo>
                    <a:pt x="144652" y="868045"/>
                  </a:lnTo>
                  <a:lnTo>
                    <a:pt x="98934" y="860669"/>
                  </a:lnTo>
                  <a:lnTo>
                    <a:pt x="59225" y="840133"/>
                  </a:lnTo>
                  <a:lnTo>
                    <a:pt x="27911" y="808819"/>
                  </a:lnTo>
                  <a:lnTo>
                    <a:pt x="7375" y="769110"/>
                  </a:lnTo>
                  <a:lnTo>
                    <a:pt x="0" y="723392"/>
                  </a:lnTo>
                  <a:lnTo>
                    <a:pt x="0" y="144653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2915411" y="2883154"/>
              <a:ext cx="4231005" cy="868044"/>
            </a:xfrm>
            <a:custGeom>
              <a:avLst/>
              <a:gdLst/>
              <a:ahLst/>
              <a:cxnLst/>
              <a:rect l="l" t="t" r="r" b="b"/>
              <a:pathLst>
                <a:path w="4231005" h="868045">
                  <a:moveTo>
                    <a:pt x="4086224" y="0"/>
                  </a:moveTo>
                  <a:lnTo>
                    <a:pt x="144780" y="0"/>
                  </a:lnTo>
                  <a:lnTo>
                    <a:pt x="98999" y="7375"/>
                  </a:lnTo>
                  <a:lnTo>
                    <a:pt x="59253" y="27911"/>
                  </a:lnTo>
                  <a:lnTo>
                    <a:pt x="27919" y="59225"/>
                  </a:lnTo>
                  <a:lnTo>
                    <a:pt x="7376" y="98934"/>
                  </a:lnTo>
                  <a:lnTo>
                    <a:pt x="0" y="144653"/>
                  </a:lnTo>
                  <a:lnTo>
                    <a:pt x="0" y="723392"/>
                  </a:lnTo>
                  <a:lnTo>
                    <a:pt x="7376" y="769110"/>
                  </a:lnTo>
                  <a:lnTo>
                    <a:pt x="27919" y="808819"/>
                  </a:lnTo>
                  <a:lnTo>
                    <a:pt x="59253" y="840133"/>
                  </a:lnTo>
                  <a:lnTo>
                    <a:pt x="98999" y="860669"/>
                  </a:lnTo>
                  <a:lnTo>
                    <a:pt x="144780" y="868045"/>
                  </a:lnTo>
                  <a:lnTo>
                    <a:pt x="4086224" y="868045"/>
                  </a:lnTo>
                  <a:lnTo>
                    <a:pt x="4131943" y="860669"/>
                  </a:lnTo>
                  <a:lnTo>
                    <a:pt x="4171652" y="840133"/>
                  </a:lnTo>
                  <a:lnTo>
                    <a:pt x="4202966" y="808819"/>
                  </a:lnTo>
                  <a:lnTo>
                    <a:pt x="4223502" y="769110"/>
                  </a:lnTo>
                  <a:lnTo>
                    <a:pt x="4230878" y="723392"/>
                  </a:lnTo>
                  <a:lnTo>
                    <a:pt x="4230878" y="144653"/>
                  </a:lnTo>
                  <a:lnTo>
                    <a:pt x="4223502" y="98934"/>
                  </a:lnTo>
                  <a:lnTo>
                    <a:pt x="4202966" y="59225"/>
                  </a:lnTo>
                  <a:lnTo>
                    <a:pt x="4171652" y="27911"/>
                  </a:lnTo>
                  <a:lnTo>
                    <a:pt x="4131943" y="7375"/>
                  </a:lnTo>
                  <a:lnTo>
                    <a:pt x="40862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2915411" y="2883154"/>
              <a:ext cx="4231005" cy="868044"/>
            </a:xfrm>
            <a:custGeom>
              <a:avLst/>
              <a:gdLst/>
              <a:ahLst/>
              <a:cxnLst/>
              <a:rect l="l" t="t" r="r" b="b"/>
              <a:pathLst>
                <a:path w="4231005" h="868045">
                  <a:moveTo>
                    <a:pt x="0" y="144653"/>
                  </a:moveTo>
                  <a:lnTo>
                    <a:pt x="7376" y="98934"/>
                  </a:lnTo>
                  <a:lnTo>
                    <a:pt x="27919" y="59225"/>
                  </a:lnTo>
                  <a:lnTo>
                    <a:pt x="59253" y="27911"/>
                  </a:lnTo>
                  <a:lnTo>
                    <a:pt x="98999" y="7375"/>
                  </a:lnTo>
                  <a:lnTo>
                    <a:pt x="144780" y="0"/>
                  </a:lnTo>
                  <a:lnTo>
                    <a:pt x="4086224" y="0"/>
                  </a:lnTo>
                  <a:lnTo>
                    <a:pt x="4131943" y="7375"/>
                  </a:lnTo>
                  <a:lnTo>
                    <a:pt x="4171652" y="27911"/>
                  </a:lnTo>
                  <a:lnTo>
                    <a:pt x="4202966" y="59225"/>
                  </a:lnTo>
                  <a:lnTo>
                    <a:pt x="4223502" y="98934"/>
                  </a:lnTo>
                  <a:lnTo>
                    <a:pt x="4230878" y="144653"/>
                  </a:lnTo>
                  <a:lnTo>
                    <a:pt x="4230878" y="723392"/>
                  </a:lnTo>
                  <a:lnTo>
                    <a:pt x="4223502" y="769110"/>
                  </a:lnTo>
                  <a:lnTo>
                    <a:pt x="4202966" y="808819"/>
                  </a:lnTo>
                  <a:lnTo>
                    <a:pt x="4171652" y="840133"/>
                  </a:lnTo>
                  <a:lnTo>
                    <a:pt x="4131943" y="860669"/>
                  </a:lnTo>
                  <a:lnTo>
                    <a:pt x="4086224" y="868045"/>
                  </a:lnTo>
                  <a:lnTo>
                    <a:pt x="144780" y="868045"/>
                  </a:lnTo>
                  <a:lnTo>
                    <a:pt x="98999" y="860669"/>
                  </a:lnTo>
                  <a:lnTo>
                    <a:pt x="59253" y="840133"/>
                  </a:lnTo>
                  <a:lnTo>
                    <a:pt x="27919" y="808819"/>
                  </a:lnTo>
                  <a:lnTo>
                    <a:pt x="7376" y="769110"/>
                  </a:lnTo>
                  <a:lnTo>
                    <a:pt x="0" y="723392"/>
                  </a:lnTo>
                  <a:lnTo>
                    <a:pt x="0" y="144653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3140710" y="3195573"/>
            <a:ext cx="378206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Calibri"/>
                <a:cs typeface="Calibri"/>
              </a:rPr>
              <a:t>кадастровый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инженер </a:t>
            </a:r>
            <a:r>
              <a:rPr sz="1200" spc="-15" dirty="0">
                <a:latin typeface="Calibri"/>
                <a:cs typeface="Calibri"/>
              </a:rPr>
              <a:t>(ст.</a:t>
            </a:r>
            <a:r>
              <a:rPr sz="1200" spc="26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36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З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т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24.07.2007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№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221-ФЗ)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1982597" y="3842639"/>
            <a:ext cx="5176520" cy="894080"/>
            <a:chOff x="1982597" y="3842639"/>
            <a:chExt cx="5176520" cy="894080"/>
          </a:xfrm>
        </p:grpSpPr>
        <p:pic>
          <p:nvPicPr>
            <p:cNvPr id="23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995297" y="3855339"/>
              <a:ext cx="868044" cy="868172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1995297" y="3855339"/>
              <a:ext cx="868044" cy="868680"/>
            </a:xfrm>
            <a:custGeom>
              <a:avLst/>
              <a:gdLst/>
              <a:ahLst/>
              <a:cxnLst/>
              <a:rect l="l" t="t" r="r" b="b"/>
              <a:pathLst>
                <a:path w="868044" h="868679">
                  <a:moveTo>
                    <a:pt x="0" y="144780"/>
                  </a:moveTo>
                  <a:lnTo>
                    <a:pt x="7375" y="99047"/>
                  </a:lnTo>
                  <a:lnTo>
                    <a:pt x="27911" y="59307"/>
                  </a:lnTo>
                  <a:lnTo>
                    <a:pt x="59225" y="27956"/>
                  </a:lnTo>
                  <a:lnTo>
                    <a:pt x="98934" y="7388"/>
                  </a:lnTo>
                  <a:lnTo>
                    <a:pt x="144652" y="0"/>
                  </a:lnTo>
                  <a:lnTo>
                    <a:pt x="723391" y="0"/>
                  </a:lnTo>
                  <a:lnTo>
                    <a:pt x="769110" y="7388"/>
                  </a:lnTo>
                  <a:lnTo>
                    <a:pt x="808819" y="27956"/>
                  </a:lnTo>
                  <a:lnTo>
                    <a:pt x="840133" y="59307"/>
                  </a:lnTo>
                  <a:lnTo>
                    <a:pt x="860669" y="99047"/>
                  </a:lnTo>
                  <a:lnTo>
                    <a:pt x="868044" y="144780"/>
                  </a:lnTo>
                  <a:lnTo>
                    <a:pt x="868044" y="723392"/>
                  </a:lnTo>
                  <a:lnTo>
                    <a:pt x="860669" y="769172"/>
                  </a:lnTo>
                  <a:lnTo>
                    <a:pt x="840133" y="808918"/>
                  </a:lnTo>
                  <a:lnTo>
                    <a:pt x="808819" y="840252"/>
                  </a:lnTo>
                  <a:lnTo>
                    <a:pt x="769110" y="860795"/>
                  </a:lnTo>
                  <a:lnTo>
                    <a:pt x="723391" y="868172"/>
                  </a:lnTo>
                  <a:lnTo>
                    <a:pt x="144652" y="868172"/>
                  </a:lnTo>
                  <a:lnTo>
                    <a:pt x="98934" y="860795"/>
                  </a:lnTo>
                  <a:lnTo>
                    <a:pt x="59225" y="840252"/>
                  </a:lnTo>
                  <a:lnTo>
                    <a:pt x="27911" y="808918"/>
                  </a:lnTo>
                  <a:lnTo>
                    <a:pt x="7375" y="769172"/>
                  </a:lnTo>
                  <a:lnTo>
                    <a:pt x="0" y="723392"/>
                  </a:lnTo>
                  <a:lnTo>
                    <a:pt x="0" y="14478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915411" y="3855339"/>
              <a:ext cx="4231005" cy="868680"/>
            </a:xfrm>
            <a:custGeom>
              <a:avLst/>
              <a:gdLst/>
              <a:ahLst/>
              <a:cxnLst/>
              <a:rect l="l" t="t" r="r" b="b"/>
              <a:pathLst>
                <a:path w="4231005" h="868679">
                  <a:moveTo>
                    <a:pt x="4086224" y="0"/>
                  </a:moveTo>
                  <a:lnTo>
                    <a:pt x="144780" y="0"/>
                  </a:lnTo>
                  <a:lnTo>
                    <a:pt x="98999" y="7388"/>
                  </a:lnTo>
                  <a:lnTo>
                    <a:pt x="59253" y="27956"/>
                  </a:lnTo>
                  <a:lnTo>
                    <a:pt x="27919" y="59307"/>
                  </a:lnTo>
                  <a:lnTo>
                    <a:pt x="7376" y="99047"/>
                  </a:lnTo>
                  <a:lnTo>
                    <a:pt x="0" y="144780"/>
                  </a:lnTo>
                  <a:lnTo>
                    <a:pt x="0" y="723392"/>
                  </a:lnTo>
                  <a:lnTo>
                    <a:pt x="7376" y="769172"/>
                  </a:lnTo>
                  <a:lnTo>
                    <a:pt x="27919" y="808918"/>
                  </a:lnTo>
                  <a:lnTo>
                    <a:pt x="59253" y="840252"/>
                  </a:lnTo>
                  <a:lnTo>
                    <a:pt x="98999" y="860795"/>
                  </a:lnTo>
                  <a:lnTo>
                    <a:pt x="144780" y="868172"/>
                  </a:lnTo>
                  <a:lnTo>
                    <a:pt x="4086224" y="868172"/>
                  </a:lnTo>
                  <a:lnTo>
                    <a:pt x="4131943" y="860795"/>
                  </a:lnTo>
                  <a:lnTo>
                    <a:pt x="4171652" y="840252"/>
                  </a:lnTo>
                  <a:lnTo>
                    <a:pt x="4202966" y="808918"/>
                  </a:lnTo>
                  <a:lnTo>
                    <a:pt x="4223502" y="769172"/>
                  </a:lnTo>
                  <a:lnTo>
                    <a:pt x="4230878" y="723392"/>
                  </a:lnTo>
                  <a:lnTo>
                    <a:pt x="4230878" y="144780"/>
                  </a:lnTo>
                  <a:lnTo>
                    <a:pt x="4223502" y="99047"/>
                  </a:lnTo>
                  <a:lnTo>
                    <a:pt x="4202966" y="59307"/>
                  </a:lnTo>
                  <a:lnTo>
                    <a:pt x="4171652" y="27956"/>
                  </a:lnTo>
                  <a:lnTo>
                    <a:pt x="4131943" y="7388"/>
                  </a:lnTo>
                  <a:lnTo>
                    <a:pt x="40862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915411" y="3855339"/>
              <a:ext cx="4231005" cy="868680"/>
            </a:xfrm>
            <a:custGeom>
              <a:avLst/>
              <a:gdLst/>
              <a:ahLst/>
              <a:cxnLst/>
              <a:rect l="l" t="t" r="r" b="b"/>
              <a:pathLst>
                <a:path w="4231005" h="868679">
                  <a:moveTo>
                    <a:pt x="0" y="144780"/>
                  </a:moveTo>
                  <a:lnTo>
                    <a:pt x="7376" y="99047"/>
                  </a:lnTo>
                  <a:lnTo>
                    <a:pt x="27919" y="59307"/>
                  </a:lnTo>
                  <a:lnTo>
                    <a:pt x="59253" y="27956"/>
                  </a:lnTo>
                  <a:lnTo>
                    <a:pt x="98999" y="7388"/>
                  </a:lnTo>
                  <a:lnTo>
                    <a:pt x="144780" y="0"/>
                  </a:lnTo>
                  <a:lnTo>
                    <a:pt x="4086224" y="0"/>
                  </a:lnTo>
                  <a:lnTo>
                    <a:pt x="4131943" y="7388"/>
                  </a:lnTo>
                  <a:lnTo>
                    <a:pt x="4171652" y="27956"/>
                  </a:lnTo>
                  <a:lnTo>
                    <a:pt x="4202966" y="59307"/>
                  </a:lnTo>
                  <a:lnTo>
                    <a:pt x="4223502" y="99047"/>
                  </a:lnTo>
                  <a:lnTo>
                    <a:pt x="4230878" y="144780"/>
                  </a:lnTo>
                  <a:lnTo>
                    <a:pt x="4230878" y="723392"/>
                  </a:lnTo>
                  <a:lnTo>
                    <a:pt x="4223502" y="769172"/>
                  </a:lnTo>
                  <a:lnTo>
                    <a:pt x="4202966" y="808918"/>
                  </a:lnTo>
                  <a:lnTo>
                    <a:pt x="4171652" y="840252"/>
                  </a:lnTo>
                  <a:lnTo>
                    <a:pt x="4131943" y="860795"/>
                  </a:lnTo>
                  <a:lnTo>
                    <a:pt x="4086224" y="868172"/>
                  </a:lnTo>
                  <a:lnTo>
                    <a:pt x="144780" y="868172"/>
                  </a:lnTo>
                  <a:lnTo>
                    <a:pt x="98999" y="860795"/>
                  </a:lnTo>
                  <a:lnTo>
                    <a:pt x="59253" y="840252"/>
                  </a:lnTo>
                  <a:lnTo>
                    <a:pt x="27919" y="808918"/>
                  </a:lnTo>
                  <a:lnTo>
                    <a:pt x="7376" y="769172"/>
                  </a:lnTo>
                  <a:lnTo>
                    <a:pt x="0" y="723392"/>
                  </a:lnTo>
                  <a:lnTo>
                    <a:pt x="0" y="14478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3308350" y="4168267"/>
            <a:ext cx="34455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Calibri"/>
                <a:cs typeface="Calibri"/>
              </a:rPr>
              <a:t>правообладатель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з/у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и</a:t>
            </a:r>
            <a:r>
              <a:rPr sz="1200" spc="-5" dirty="0">
                <a:latin typeface="Calibri"/>
                <a:cs typeface="Calibri"/>
              </a:rPr>
              <a:t> ГКУ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связ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с выбором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ВРИ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1982597" y="4814951"/>
            <a:ext cx="5176520" cy="1866264"/>
            <a:chOff x="1982597" y="4814951"/>
            <a:chExt cx="5176520" cy="1866264"/>
          </a:xfrm>
        </p:grpSpPr>
        <p:pic>
          <p:nvPicPr>
            <p:cNvPr id="29" name="object 2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995297" y="4827651"/>
              <a:ext cx="868044" cy="868108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1995297" y="4827651"/>
              <a:ext cx="868044" cy="868680"/>
            </a:xfrm>
            <a:custGeom>
              <a:avLst/>
              <a:gdLst/>
              <a:ahLst/>
              <a:cxnLst/>
              <a:rect l="l" t="t" r="r" b="b"/>
              <a:pathLst>
                <a:path w="868044" h="868679">
                  <a:moveTo>
                    <a:pt x="0" y="144780"/>
                  </a:moveTo>
                  <a:lnTo>
                    <a:pt x="7375" y="98999"/>
                  </a:lnTo>
                  <a:lnTo>
                    <a:pt x="27911" y="59253"/>
                  </a:lnTo>
                  <a:lnTo>
                    <a:pt x="59225" y="27919"/>
                  </a:lnTo>
                  <a:lnTo>
                    <a:pt x="98934" y="7376"/>
                  </a:lnTo>
                  <a:lnTo>
                    <a:pt x="144652" y="0"/>
                  </a:lnTo>
                  <a:lnTo>
                    <a:pt x="723391" y="0"/>
                  </a:lnTo>
                  <a:lnTo>
                    <a:pt x="769110" y="7376"/>
                  </a:lnTo>
                  <a:lnTo>
                    <a:pt x="808819" y="27919"/>
                  </a:lnTo>
                  <a:lnTo>
                    <a:pt x="840133" y="59253"/>
                  </a:lnTo>
                  <a:lnTo>
                    <a:pt x="860669" y="98999"/>
                  </a:lnTo>
                  <a:lnTo>
                    <a:pt x="868044" y="144780"/>
                  </a:lnTo>
                  <a:lnTo>
                    <a:pt x="868044" y="723392"/>
                  </a:lnTo>
                  <a:lnTo>
                    <a:pt x="860669" y="769137"/>
                  </a:lnTo>
                  <a:lnTo>
                    <a:pt x="840133" y="808863"/>
                  </a:lnTo>
                  <a:lnTo>
                    <a:pt x="808819" y="840189"/>
                  </a:lnTo>
                  <a:lnTo>
                    <a:pt x="769110" y="860731"/>
                  </a:lnTo>
                  <a:lnTo>
                    <a:pt x="723391" y="868108"/>
                  </a:lnTo>
                  <a:lnTo>
                    <a:pt x="144652" y="868108"/>
                  </a:lnTo>
                  <a:lnTo>
                    <a:pt x="98934" y="860731"/>
                  </a:lnTo>
                  <a:lnTo>
                    <a:pt x="59225" y="840189"/>
                  </a:lnTo>
                  <a:lnTo>
                    <a:pt x="27911" y="808863"/>
                  </a:lnTo>
                  <a:lnTo>
                    <a:pt x="7375" y="769137"/>
                  </a:lnTo>
                  <a:lnTo>
                    <a:pt x="0" y="723392"/>
                  </a:lnTo>
                  <a:lnTo>
                    <a:pt x="0" y="14478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2915411" y="4827651"/>
              <a:ext cx="4231005" cy="868680"/>
            </a:xfrm>
            <a:custGeom>
              <a:avLst/>
              <a:gdLst/>
              <a:ahLst/>
              <a:cxnLst/>
              <a:rect l="l" t="t" r="r" b="b"/>
              <a:pathLst>
                <a:path w="4231005" h="868679">
                  <a:moveTo>
                    <a:pt x="4086224" y="0"/>
                  </a:moveTo>
                  <a:lnTo>
                    <a:pt x="144780" y="0"/>
                  </a:lnTo>
                  <a:lnTo>
                    <a:pt x="98999" y="7376"/>
                  </a:lnTo>
                  <a:lnTo>
                    <a:pt x="59253" y="27919"/>
                  </a:lnTo>
                  <a:lnTo>
                    <a:pt x="27919" y="59253"/>
                  </a:lnTo>
                  <a:lnTo>
                    <a:pt x="7376" y="98999"/>
                  </a:lnTo>
                  <a:lnTo>
                    <a:pt x="0" y="144780"/>
                  </a:lnTo>
                  <a:lnTo>
                    <a:pt x="0" y="723392"/>
                  </a:lnTo>
                  <a:lnTo>
                    <a:pt x="7376" y="769137"/>
                  </a:lnTo>
                  <a:lnTo>
                    <a:pt x="27919" y="808863"/>
                  </a:lnTo>
                  <a:lnTo>
                    <a:pt x="59253" y="840189"/>
                  </a:lnTo>
                  <a:lnTo>
                    <a:pt x="98999" y="860731"/>
                  </a:lnTo>
                  <a:lnTo>
                    <a:pt x="144780" y="868108"/>
                  </a:lnTo>
                  <a:lnTo>
                    <a:pt x="4086224" y="868108"/>
                  </a:lnTo>
                  <a:lnTo>
                    <a:pt x="4131943" y="860731"/>
                  </a:lnTo>
                  <a:lnTo>
                    <a:pt x="4171652" y="840189"/>
                  </a:lnTo>
                  <a:lnTo>
                    <a:pt x="4202966" y="808863"/>
                  </a:lnTo>
                  <a:lnTo>
                    <a:pt x="4223502" y="769137"/>
                  </a:lnTo>
                  <a:lnTo>
                    <a:pt x="4230878" y="723392"/>
                  </a:lnTo>
                  <a:lnTo>
                    <a:pt x="4230878" y="144780"/>
                  </a:lnTo>
                  <a:lnTo>
                    <a:pt x="4223502" y="98999"/>
                  </a:lnTo>
                  <a:lnTo>
                    <a:pt x="4202966" y="59253"/>
                  </a:lnTo>
                  <a:lnTo>
                    <a:pt x="4171652" y="27919"/>
                  </a:lnTo>
                  <a:lnTo>
                    <a:pt x="4131943" y="7376"/>
                  </a:lnTo>
                  <a:lnTo>
                    <a:pt x="40862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2915411" y="4827651"/>
              <a:ext cx="4231005" cy="868680"/>
            </a:xfrm>
            <a:custGeom>
              <a:avLst/>
              <a:gdLst/>
              <a:ahLst/>
              <a:cxnLst/>
              <a:rect l="l" t="t" r="r" b="b"/>
              <a:pathLst>
                <a:path w="4231005" h="868679">
                  <a:moveTo>
                    <a:pt x="0" y="144780"/>
                  </a:moveTo>
                  <a:lnTo>
                    <a:pt x="7376" y="98999"/>
                  </a:lnTo>
                  <a:lnTo>
                    <a:pt x="27919" y="59253"/>
                  </a:lnTo>
                  <a:lnTo>
                    <a:pt x="59253" y="27919"/>
                  </a:lnTo>
                  <a:lnTo>
                    <a:pt x="98999" y="7376"/>
                  </a:lnTo>
                  <a:lnTo>
                    <a:pt x="144780" y="0"/>
                  </a:lnTo>
                  <a:lnTo>
                    <a:pt x="4086224" y="0"/>
                  </a:lnTo>
                  <a:lnTo>
                    <a:pt x="4131943" y="7376"/>
                  </a:lnTo>
                  <a:lnTo>
                    <a:pt x="4171652" y="27919"/>
                  </a:lnTo>
                  <a:lnTo>
                    <a:pt x="4202966" y="59253"/>
                  </a:lnTo>
                  <a:lnTo>
                    <a:pt x="4223502" y="98999"/>
                  </a:lnTo>
                  <a:lnTo>
                    <a:pt x="4230878" y="144780"/>
                  </a:lnTo>
                  <a:lnTo>
                    <a:pt x="4230878" y="723392"/>
                  </a:lnTo>
                  <a:lnTo>
                    <a:pt x="4223502" y="769137"/>
                  </a:lnTo>
                  <a:lnTo>
                    <a:pt x="4202966" y="808863"/>
                  </a:lnTo>
                  <a:lnTo>
                    <a:pt x="4171652" y="840189"/>
                  </a:lnTo>
                  <a:lnTo>
                    <a:pt x="4131943" y="860731"/>
                  </a:lnTo>
                  <a:lnTo>
                    <a:pt x="4086224" y="868108"/>
                  </a:lnTo>
                  <a:lnTo>
                    <a:pt x="144780" y="868108"/>
                  </a:lnTo>
                  <a:lnTo>
                    <a:pt x="98999" y="860731"/>
                  </a:lnTo>
                  <a:lnTo>
                    <a:pt x="59253" y="840189"/>
                  </a:lnTo>
                  <a:lnTo>
                    <a:pt x="27919" y="808863"/>
                  </a:lnTo>
                  <a:lnTo>
                    <a:pt x="7376" y="769137"/>
                  </a:lnTo>
                  <a:lnTo>
                    <a:pt x="0" y="723392"/>
                  </a:lnTo>
                  <a:lnTo>
                    <a:pt x="0" y="144780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3" name="object 3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95297" y="5799937"/>
              <a:ext cx="868044" cy="868095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1995297" y="5799937"/>
              <a:ext cx="868044" cy="868680"/>
            </a:xfrm>
            <a:custGeom>
              <a:avLst/>
              <a:gdLst/>
              <a:ahLst/>
              <a:cxnLst/>
              <a:rect l="l" t="t" r="r" b="b"/>
              <a:pathLst>
                <a:path w="868044" h="868679">
                  <a:moveTo>
                    <a:pt x="0" y="144703"/>
                  </a:moveTo>
                  <a:lnTo>
                    <a:pt x="7375" y="98964"/>
                  </a:lnTo>
                  <a:lnTo>
                    <a:pt x="27911" y="59242"/>
                  </a:lnTo>
                  <a:lnTo>
                    <a:pt x="59225" y="27918"/>
                  </a:lnTo>
                  <a:lnTo>
                    <a:pt x="98934" y="7376"/>
                  </a:lnTo>
                  <a:lnTo>
                    <a:pt x="144652" y="0"/>
                  </a:lnTo>
                  <a:lnTo>
                    <a:pt x="723391" y="0"/>
                  </a:lnTo>
                  <a:lnTo>
                    <a:pt x="769110" y="7376"/>
                  </a:lnTo>
                  <a:lnTo>
                    <a:pt x="808819" y="27918"/>
                  </a:lnTo>
                  <a:lnTo>
                    <a:pt x="840133" y="59242"/>
                  </a:lnTo>
                  <a:lnTo>
                    <a:pt x="860669" y="98964"/>
                  </a:lnTo>
                  <a:lnTo>
                    <a:pt x="868044" y="144703"/>
                  </a:lnTo>
                  <a:lnTo>
                    <a:pt x="868044" y="723379"/>
                  </a:lnTo>
                  <a:lnTo>
                    <a:pt x="860669" y="769119"/>
                  </a:lnTo>
                  <a:lnTo>
                    <a:pt x="840133" y="808845"/>
                  </a:lnTo>
                  <a:lnTo>
                    <a:pt x="808819" y="840172"/>
                  </a:lnTo>
                  <a:lnTo>
                    <a:pt x="769110" y="860717"/>
                  </a:lnTo>
                  <a:lnTo>
                    <a:pt x="723391" y="868095"/>
                  </a:lnTo>
                  <a:lnTo>
                    <a:pt x="144652" y="868095"/>
                  </a:lnTo>
                  <a:lnTo>
                    <a:pt x="98934" y="860717"/>
                  </a:lnTo>
                  <a:lnTo>
                    <a:pt x="59225" y="840172"/>
                  </a:lnTo>
                  <a:lnTo>
                    <a:pt x="27911" y="808845"/>
                  </a:lnTo>
                  <a:lnTo>
                    <a:pt x="7375" y="769119"/>
                  </a:lnTo>
                  <a:lnTo>
                    <a:pt x="0" y="723379"/>
                  </a:lnTo>
                  <a:lnTo>
                    <a:pt x="0" y="144703"/>
                  </a:lnTo>
                  <a:close/>
                </a:path>
              </a:pathLst>
            </a:custGeom>
            <a:ln w="25400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2915411" y="5799937"/>
              <a:ext cx="4231005" cy="868680"/>
            </a:xfrm>
            <a:custGeom>
              <a:avLst/>
              <a:gdLst/>
              <a:ahLst/>
              <a:cxnLst/>
              <a:rect l="l" t="t" r="r" b="b"/>
              <a:pathLst>
                <a:path w="4231005" h="868679">
                  <a:moveTo>
                    <a:pt x="4086224" y="0"/>
                  </a:moveTo>
                  <a:lnTo>
                    <a:pt x="144780" y="0"/>
                  </a:lnTo>
                  <a:lnTo>
                    <a:pt x="98999" y="7376"/>
                  </a:lnTo>
                  <a:lnTo>
                    <a:pt x="59253" y="27918"/>
                  </a:lnTo>
                  <a:lnTo>
                    <a:pt x="27919" y="59242"/>
                  </a:lnTo>
                  <a:lnTo>
                    <a:pt x="7376" y="98964"/>
                  </a:lnTo>
                  <a:lnTo>
                    <a:pt x="0" y="144703"/>
                  </a:lnTo>
                  <a:lnTo>
                    <a:pt x="0" y="723379"/>
                  </a:lnTo>
                  <a:lnTo>
                    <a:pt x="7376" y="769119"/>
                  </a:lnTo>
                  <a:lnTo>
                    <a:pt x="27919" y="808845"/>
                  </a:lnTo>
                  <a:lnTo>
                    <a:pt x="59253" y="840172"/>
                  </a:lnTo>
                  <a:lnTo>
                    <a:pt x="98999" y="860717"/>
                  </a:lnTo>
                  <a:lnTo>
                    <a:pt x="144780" y="868095"/>
                  </a:lnTo>
                  <a:lnTo>
                    <a:pt x="4086224" y="868095"/>
                  </a:lnTo>
                  <a:lnTo>
                    <a:pt x="4131943" y="860717"/>
                  </a:lnTo>
                  <a:lnTo>
                    <a:pt x="4171652" y="840172"/>
                  </a:lnTo>
                  <a:lnTo>
                    <a:pt x="4202966" y="808845"/>
                  </a:lnTo>
                  <a:lnTo>
                    <a:pt x="4223502" y="769119"/>
                  </a:lnTo>
                  <a:lnTo>
                    <a:pt x="4230878" y="723379"/>
                  </a:lnTo>
                  <a:lnTo>
                    <a:pt x="4230878" y="144703"/>
                  </a:lnTo>
                  <a:lnTo>
                    <a:pt x="4223502" y="98964"/>
                  </a:lnTo>
                  <a:lnTo>
                    <a:pt x="4202966" y="59242"/>
                  </a:lnTo>
                  <a:lnTo>
                    <a:pt x="4171652" y="27918"/>
                  </a:lnTo>
                  <a:lnTo>
                    <a:pt x="4131943" y="7376"/>
                  </a:lnTo>
                  <a:lnTo>
                    <a:pt x="40862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2915411" y="5799937"/>
              <a:ext cx="4231005" cy="868680"/>
            </a:xfrm>
            <a:custGeom>
              <a:avLst/>
              <a:gdLst/>
              <a:ahLst/>
              <a:cxnLst/>
              <a:rect l="l" t="t" r="r" b="b"/>
              <a:pathLst>
                <a:path w="4231005" h="868679">
                  <a:moveTo>
                    <a:pt x="0" y="144703"/>
                  </a:moveTo>
                  <a:lnTo>
                    <a:pt x="7376" y="98964"/>
                  </a:lnTo>
                  <a:lnTo>
                    <a:pt x="27919" y="59242"/>
                  </a:lnTo>
                  <a:lnTo>
                    <a:pt x="59253" y="27918"/>
                  </a:lnTo>
                  <a:lnTo>
                    <a:pt x="98999" y="7376"/>
                  </a:lnTo>
                  <a:lnTo>
                    <a:pt x="144780" y="0"/>
                  </a:lnTo>
                  <a:lnTo>
                    <a:pt x="4086224" y="0"/>
                  </a:lnTo>
                  <a:lnTo>
                    <a:pt x="4131943" y="7376"/>
                  </a:lnTo>
                  <a:lnTo>
                    <a:pt x="4171652" y="27918"/>
                  </a:lnTo>
                  <a:lnTo>
                    <a:pt x="4202966" y="59242"/>
                  </a:lnTo>
                  <a:lnTo>
                    <a:pt x="4223502" y="98964"/>
                  </a:lnTo>
                  <a:lnTo>
                    <a:pt x="4230878" y="144703"/>
                  </a:lnTo>
                  <a:lnTo>
                    <a:pt x="4230878" y="723379"/>
                  </a:lnTo>
                  <a:lnTo>
                    <a:pt x="4223502" y="769119"/>
                  </a:lnTo>
                  <a:lnTo>
                    <a:pt x="4202966" y="808845"/>
                  </a:lnTo>
                  <a:lnTo>
                    <a:pt x="4171652" y="840172"/>
                  </a:lnTo>
                  <a:lnTo>
                    <a:pt x="4131943" y="860717"/>
                  </a:lnTo>
                  <a:lnTo>
                    <a:pt x="4086224" y="868095"/>
                  </a:lnTo>
                  <a:lnTo>
                    <a:pt x="144780" y="868095"/>
                  </a:lnTo>
                  <a:lnTo>
                    <a:pt x="98999" y="860717"/>
                  </a:lnTo>
                  <a:lnTo>
                    <a:pt x="59253" y="840172"/>
                  </a:lnTo>
                  <a:lnTo>
                    <a:pt x="27919" y="808845"/>
                  </a:lnTo>
                  <a:lnTo>
                    <a:pt x="7376" y="769119"/>
                  </a:lnTo>
                  <a:lnTo>
                    <a:pt x="0" y="723379"/>
                  </a:lnTo>
                  <a:lnTo>
                    <a:pt x="0" y="144703"/>
                  </a:lnTo>
                  <a:close/>
                </a:path>
              </a:pathLst>
            </a:custGeom>
            <a:ln w="25399">
              <a:solidFill>
                <a:srgbClr val="439BB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7" name="object 37"/>
          <p:cNvSpPr txBox="1"/>
          <p:nvPr/>
        </p:nvSpPr>
        <p:spPr>
          <a:xfrm>
            <a:off x="3056889" y="4768977"/>
            <a:ext cx="3945254" cy="1911985"/>
          </a:xfrm>
          <a:prstGeom prst="rect">
            <a:avLst/>
          </a:prstGeom>
        </p:spPr>
        <p:txBody>
          <a:bodyPr vert="horz" wrap="square" lIns="0" tIns="26669" rIns="0" bIns="0" rtlCol="0">
            <a:spAutoFit/>
          </a:bodyPr>
          <a:lstStyle/>
          <a:p>
            <a:pPr marL="129539" marR="120650" indent="31750" algn="ctr">
              <a:lnSpc>
                <a:spcPct val="92000"/>
              </a:lnSpc>
              <a:spcBef>
                <a:spcPts val="209"/>
              </a:spcBef>
            </a:pPr>
            <a:r>
              <a:rPr sz="1100" dirty="0">
                <a:latin typeface="Calibri"/>
                <a:cs typeface="Calibri"/>
              </a:rPr>
              <a:t>лица, которому з/у, находящийся в государственной или </a:t>
            </a:r>
            <a:r>
              <a:rPr sz="1100" spc="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муниципальной собственности, предоставлен в аренду или в </a:t>
            </a:r>
            <a:r>
              <a:rPr sz="1100" spc="-2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безвозмездное</a:t>
            </a:r>
            <a:r>
              <a:rPr sz="1100" spc="-6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пользование</a:t>
            </a:r>
            <a:r>
              <a:rPr sz="1100" spc="-30" dirty="0">
                <a:latin typeface="Calibri"/>
                <a:cs typeface="Calibri"/>
              </a:rPr>
              <a:t> </a:t>
            </a:r>
            <a:r>
              <a:rPr sz="1100" spc="-5" dirty="0">
                <a:latin typeface="Calibri"/>
                <a:cs typeface="Calibri"/>
              </a:rPr>
              <a:t>(при</a:t>
            </a:r>
            <a:r>
              <a:rPr sz="1100" spc="-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ГКУ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в связи</a:t>
            </a:r>
            <a:r>
              <a:rPr sz="1100" spc="-2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с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разделом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или </a:t>
            </a:r>
            <a:r>
              <a:rPr sz="1100" spc="-229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объединением</a:t>
            </a:r>
            <a:r>
              <a:rPr sz="1100" spc="-4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з/у</a:t>
            </a:r>
            <a:r>
              <a:rPr sz="1100" spc="-1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в</a:t>
            </a:r>
            <a:r>
              <a:rPr sz="1100" spc="10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соответствии</a:t>
            </a:r>
            <a:r>
              <a:rPr sz="1100" spc="-5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с</a:t>
            </a:r>
            <a:r>
              <a:rPr sz="1100" spc="10" dirty="0">
                <a:latin typeface="Calibri"/>
                <a:cs typeface="Calibri"/>
              </a:rPr>
              <a:t> </a:t>
            </a:r>
            <a:r>
              <a:rPr sz="1100" spc="-5" dirty="0">
                <a:latin typeface="Calibri"/>
                <a:cs typeface="Calibri"/>
              </a:rPr>
              <a:t>утвержденным</a:t>
            </a:r>
            <a:r>
              <a:rPr sz="1100" spc="-2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ПМТ </a:t>
            </a:r>
            <a:r>
              <a:rPr sz="1100" spc="-5" dirty="0">
                <a:latin typeface="Calibri"/>
                <a:cs typeface="Calibri"/>
              </a:rPr>
              <a:t>либо </a:t>
            </a:r>
            <a:r>
              <a:rPr sz="1100" spc="-23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схемой расположения на КПТ, уточнением местоположения </a:t>
            </a:r>
            <a:r>
              <a:rPr sz="1100" spc="5" dirty="0">
                <a:latin typeface="Calibri"/>
                <a:cs typeface="Calibri"/>
              </a:rPr>
              <a:t> </a:t>
            </a:r>
            <a:r>
              <a:rPr sz="1100" dirty="0">
                <a:latin typeface="Calibri"/>
                <a:cs typeface="Calibri"/>
              </a:rPr>
              <a:t>границ)</a:t>
            </a:r>
            <a:endParaRPr sz="1100">
              <a:latin typeface="Calibri"/>
              <a:cs typeface="Calibri"/>
            </a:endParaRPr>
          </a:p>
          <a:p>
            <a:pPr marL="12065" marR="5080" algn="ctr">
              <a:lnSpc>
                <a:spcPct val="91600"/>
              </a:lnSpc>
              <a:spcBef>
                <a:spcPts val="520"/>
              </a:spcBef>
            </a:pPr>
            <a:r>
              <a:rPr sz="900" spc="-5" dirty="0">
                <a:latin typeface="Calibri"/>
                <a:cs typeface="Calibri"/>
              </a:rPr>
              <a:t>ОГВ или </a:t>
            </a:r>
            <a:r>
              <a:rPr sz="900" dirty="0">
                <a:latin typeface="Calibri"/>
                <a:cs typeface="Calibri"/>
              </a:rPr>
              <a:t>ОМС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-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и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снятии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с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ГКУ</a:t>
            </a:r>
            <a:r>
              <a:rPr sz="900" spc="-5" dirty="0">
                <a:latin typeface="Calibri"/>
                <a:cs typeface="Calibri"/>
              </a:rPr>
              <a:t> з/у, государственная</a:t>
            </a:r>
            <a:r>
              <a:rPr sz="90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собственность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на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который </a:t>
            </a:r>
            <a:r>
              <a:rPr sz="900" dirty="0">
                <a:latin typeface="Calibri"/>
                <a:cs typeface="Calibri"/>
              </a:rPr>
              <a:t> не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разграничена,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который</a:t>
            </a:r>
            <a:r>
              <a:rPr sz="900" dirty="0">
                <a:latin typeface="Calibri"/>
                <a:cs typeface="Calibri"/>
              </a:rPr>
              <a:t> не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едоставлен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и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на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котором</a:t>
            </a:r>
            <a:r>
              <a:rPr sz="900" spc="-2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отсутствуют ОКС, либо </a:t>
            </a:r>
            <a:r>
              <a:rPr sz="90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и снятии</a:t>
            </a:r>
            <a:r>
              <a:rPr sz="900" spc="-10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с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ГКУ</a:t>
            </a:r>
            <a:r>
              <a:rPr sz="900" spc="-5" dirty="0">
                <a:latin typeface="Calibri"/>
                <a:cs typeface="Calibri"/>
              </a:rPr>
              <a:t> з/у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госсобственность</a:t>
            </a:r>
            <a:r>
              <a:rPr sz="900" spc="-2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на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который</a:t>
            </a:r>
            <a:r>
              <a:rPr sz="900" dirty="0">
                <a:latin typeface="Calibri"/>
                <a:cs typeface="Calibri"/>
              </a:rPr>
              <a:t> не</a:t>
            </a:r>
            <a:r>
              <a:rPr sz="900" spc="-5" dirty="0">
                <a:latin typeface="Calibri"/>
                <a:cs typeface="Calibri"/>
              </a:rPr>
              <a:t> разграничена,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который</a:t>
            </a:r>
            <a:r>
              <a:rPr sz="900" dirty="0">
                <a:latin typeface="Calibri"/>
                <a:cs typeface="Calibri"/>
              </a:rPr>
              <a:t> не 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едоставлен,</a:t>
            </a:r>
            <a:r>
              <a:rPr sz="900" spc="-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и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наличии </a:t>
            </a:r>
            <a:r>
              <a:rPr sz="900" dirty="0">
                <a:latin typeface="Calibri"/>
                <a:cs typeface="Calibri"/>
              </a:rPr>
              <a:t>на указанном</a:t>
            </a:r>
            <a:r>
              <a:rPr sz="900" spc="-5" dirty="0">
                <a:latin typeface="Calibri"/>
                <a:cs typeface="Calibri"/>
              </a:rPr>
              <a:t> з/у</a:t>
            </a:r>
            <a:r>
              <a:rPr sz="900" spc="-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ОКС, принадлежащих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на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аве </a:t>
            </a:r>
            <a:r>
              <a:rPr sz="90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собственности</a:t>
            </a:r>
            <a:r>
              <a:rPr sz="900" spc="-3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или</a:t>
            </a:r>
            <a:r>
              <a:rPr sz="900" dirty="0">
                <a:latin typeface="Calibri"/>
                <a:cs typeface="Calibri"/>
              </a:rPr>
              <a:t> ином </a:t>
            </a:r>
            <a:r>
              <a:rPr sz="900" spc="-5" dirty="0">
                <a:latin typeface="Calibri"/>
                <a:cs typeface="Calibri"/>
              </a:rPr>
              <a:t>вещном</a:t>
            </a:r>
            <a:r>
              <a:rPr sz="900" spc="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праве</a:t>
            </a:r>
            <a:r>
              <a:rPr sz="900" spc="2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гражданам</a:t>
            </a:r>
            <a:r>
              <a:rPr sz="90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или</a:t>
            </a:r>
            <a:r>
              <a:rPr sz="90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организациям,</a:t>
            </a:r>
            <a:r>
              <a:rPr sz="900" spc="-2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в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случае, </a:t>
            </a:r>
            <a:r>
              <a:rPr sz="900" spc="-19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если</a:t>
            </a:r>
            <a:r>
              <a:rPr sz="900" spc="-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границы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такого</a:t>
            </a:r>
            <a:r>
              <a:rPr sz="900" spc="-10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з/у</a:t>
            </a:r>
            <a:r>
              <a:rPr sz="900" spc="-10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не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соответствуют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утвержденной</a:t>
            </a:r>
            <a:r>
              <a:rPr sz="900" spc="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документации</a:t>
            </a:r>
            <a:r>
              <a:rPr sz="900" spc="-3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по</a:t>
            </a:r>
            <a:endParaRPr sz="900">
              <a:latin typeface="Calibri"/>
              <a:cs typeface="Calibri"/>
            </a:endParaRPr>
          </a:p>
          <a:p>
            <a:pPr marL="635" algn="ctr">
              <a:lnSpc>
                <a:spcPts val="994"/>
              </a:lnSpc>
            </a:pPr>
            <a:r>
              <a:rPr sz="900" spc="-5" dirty="0">
                <a:latin typeface="Calibri"/>
                <a:cs typeface="Calibri"/>
              </a:rPr>
              <a:t>планировке</a:t>
            </a:r>
            <a:r>
              <a:rPr sz="900" spc="-2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территории,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с согласия</a:t>
            </a:r>
            <a:r>
              <a:rPr sz="900" spc="-25" dirty="0">
                <a:latin typeface="Calibri"/>
                <a:cs typeface="Calibri"/>
              </a:rPr>
              <a:t> </a:t>
            </a:r>
            <a:r>
              <a:rPr sz="900" dirty="0">
                <a:latin typeface="Calibri"/>
                <a:cs typeface="Calibri"/>
              </a:rPr>
              <a:t>указанных</a:t>
            </a:r>
            <a:r>
              <a:rPr sz="900" spc="-15" dirty="0">
                <a:latin typeface="Calibri"/>
                <a:cs typeface="Calibri"/>
              </a:rPr>
              <a:t> </a:t>
            </a:r>
            <a:r>
              <a:rPr sz="900" spc="-5" dirty="0">
                <a:latin typeface="Calibri"/>
                <a:cs typeface="Calibri"/>
              </a:rPr>
              <a:t>лиц</a:t>
            </a:r>
            <a:endParaRPr sz="900">
              <a:latin typeface="Calibri"/>
              <a:cs typeface="Calibri"/>
            </a:endParaRPr>
          </a:p>
        </p:txBody>
      </p:sp>
      <p:pic>
        <p:nvPicPr>
          <p:cNvPr id="38" name="object 3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0" y="2058923"/>
            <a:ext cx="2054352" cy="868679"/>
          </a:xfrm>
          <a:prstGeom prst="rect">
            <a:avLst/>
          </a:prstGeom>
        </p:spPr>
      </p:pic>
      <p:sp>
        <p:nvSpPr>
          <p:cNvPr id="39" name="object 39"/>
          <p:cNvSpPr txBox="1"/>
          <p:nvPr/>
        </p:nvSpPr>
        <p:spPr>
          <a:xfrm>
            <a:off x="180238" y="2771089"/>
            <a:ext cx="1680210" cy="3003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4F81BC"/>
                </a:solidFill>
                <a:latin typeface="Calibri"/>
                <a:cs typeface="Calibri"/>
              </a:rPr>
              <a:t>Личный</a:t>
            </a:r>
            <a:r>
              <a:rPr sz="1800" b="1" spc="-55" dirty="0">
                <a:solidFill>
                  <a:srgbClr val="4F81BC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4F81BC"/>
                </a:solidFill>
                <a:latin typeface="Calibri"/>
                <a:cs typeface="Calibri"/>
              </a:rPr>
              <a:t>кабинет</a:t>
            </a:r>
            <a:endParaRPr sz="1800">
              <a:latin typeface="Calibri"/>
              <a:cs typeface="Calibri"/>
            </a:endParaRPr>
          </a:p>
        </p:txBody>
      </p:sp>
      <p:pic>
        <p:nvPicPr>
          <p:cNvPr id="40" name="object 4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260350" y="4076700"/>
            <a:ext cx="1619250" cy="65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527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yYv4uJ67S0mN.RbxZX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yYv4uJ67S0mN.RbxZ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2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3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4.xml><?xml version="1.0" encoding="utf-8"?>
<a:theme xmlns:a="http://schemas.openxmlformats.org/drawingml/2006/main" name="4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5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048</TotalTime>
  <Words>3915</Words>
  <Application>Microsoft Office PowerPoint</Application>
  <PresentationFormat>Экран (4:3)</PresentationFormat>
  <Paragraphs>503</Paragraphs>
  <Slides>42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9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2</vt:i4>
      </vt:variant>
    </vt:vector>
  </HeadingPairs>
  <TitlesOfParts>
    <vt:vector size="68" baseType="lpstr">
      <vt:lpstr>Arial</vt:lpstr>
      <vt:lpstr>Arial Black</vt:lpstr>
      <vt:lpstr>Arial MT</vt:lpstr>
      <vt:lpstr>Arial Narrow</vt:lpstr>
      <vt:lpstr>Calibri</vt:lpstr>
      <vt:lpstr>Calibri Light</vt:lpstr>
      <vt:lpstr>Dotum</vt:lpstr>
      <vt:lpstr>Graphik LCG</vt:lpstr>
      <vt:lpstr>Microsoft Sans Serif</vt:lpstr>
      <vt:lpstr>Montserrat Light</vt:lpstr>
      <vt:lpstr>Segoe Print</vt:lpstr>
      <vt:lpstr>Segoe UI</vt:lpstr>
      <vt:lpstr>Segoe UI Black</vt:lpstr>
      <vt:lpstr>Segoe UI Semibold</vt:lpstr>
      <vt:lpstr>Segoe UI Symbol</vt:lpstr>
      <vt:lpstr>Symbol</vt:lpstr>
      <vt:lpstr>Times New Roman</vt:lpstr>
      <vt:lpstr>Trebuchet MS</vt:lpstr>
      <vt:lpstr>Wingdings</vt:lpstr>
      <vt:lpstr>1_RosreestrClient A4 - 12958</vt:lpstr>
      <vt:lpstr>2_RosreestrClient A4 - 12958</vt:lpstr>
      <vt:lpstr>3_RosreestrClient A4 - 12958</vt:lpstr>
      <vt:lpstr>4_RosreestrClient A4 - 12958</vt:lpstr>
      <vt:lpstr>Тема Office</vt:lpstr>
      <vt:lpstr>think-cell Slide</vt:lpstr>
      <vt:lpstr>Слайд think-cell</vt:lpstr>
      <vt:lpstr>Презентация PowerPoint</vt:lpstr>
      <vt:lpstr>НОВОЕ В ЗАКОНОДАТЕЛЬСТВЕ </vt:lpstr>
      <vt:lpstr>Презентация PowerPoint</vt:lpstr>
      <vt:lpstr>Презентация PowerPoint</vt:lpstr>
      <vt:lpstr>Презентация PowerPoint</vt:lpstr>
      <vt:lpstr>Об изменениях в  законодательстве в  сфере кадастрового  учета земельных  участков</vt:lpstr>
      <vt:lpstr>Нормативно-правовые акты,  в которые были внесены  изменения</vt:lpstr>
      <vt:lpstr>Лица, по заявлению которых осуществляются ГКУ и (или)  ГРП земельных участков</vt:lpstr>
      <vt:lpstr>Лица, по заявлению которых осуществляются ГКУ и (или)  ГРП земельных участков</vt:lpstr>
      <vt:lpstr>Кадастровый инженер имеет право обратиться за ГКУ и (или)  ГРП в следующих случаях:</vt:lpstr>
      <vt:lpstr>Документы подтверждающие полномочия кадастрового  инженера</vt:lpstr>
      <vt:lpstr>Особенности осуществления ГКУ и ГРП при образовании  объекта недвижимости (изменения в статью 41)</vt:lpstr>
      <vt:lpstr>Особенности осуществления ГКУ и ГРП при образовании  объекта недвижимости (изменения в статью 41)</vt:lpstr>
      <vt:lpstr>Особенности осуществления ГКУ и ГРП при образовании  объекта недвижимости  (изменения в статью 41)</vt:lpstr>
      <vt:lpstr>Особенности осуществления ГКУ при уточнении границ  земельных участков (изменения в статью 43)</vt:lpstr>
      <vt:lpstr>Особенности осуществления ГКУ при уточнении границ  земельных участков (изменения в статью 43)</vt:lpstr>
      <vt:lpstr>Особенности осуществления ГКУ при уточнении границ  земельных участков (изменения в статью 43)</vt:lpstr>
      <vt:lpstr>Осуществление ГКУ и (или) ГРП на недвижимое имущество  на основании решения суда (изменения в статью 58)</vt:lpstr>
      <vt:lpstr>Исправление реестровой ошибки (изменения в статью 61)</vt:lpstr>
      <vt:lpstr>Исправление реестровой ошибки  (изменения в статью 61)</vt:lpstr>
      <vt:lpstr>Акты согласования</vt:lpstr>
      <vt:lpstr>Презентация PowerPoint</vt:lpstr>
      <vt:lpstr>Федеральный закон от 05.04.2021 N 79-ФЗ "О внесении изменений в  отдельные законодательные акты Российской Федерации " – Закон о ГАРАЖНОЙ АМНИСТИИ</vt:lpstr>
      <vt:lpstr>Презентация PowerPoint</vt:lpstr>
      <vt:lpstr>Перечень документов, которые могут подтверждать законность возведения и использования гаража на соответствующем  земельном участке:</vt:lpstr>
      <vt:lpstr>Как воспользоваться "гаражной амнистией"</vt:lpstr>
      <vt:lpstr>Образование земельного участка под гаражом</vt:lpstr>
      <vt:lpstr>Презентация PowerPoint</vt:lpstr>
      <vt:lpstr>РАНЕЕ УЧТЕННЫЕ ОБЪЕКТЫ НЕДВИЖИМОСТИ-218-ФЗ ст. 69</vt:lpstr>
      <vt:lpstr>ПРАВОУСТАНАВЛИВАЮЩИЕ ДОКУМЕНТЫ  </vt:lpstr>
      <vt:lpstr>518-ФЗ от 30.12.2020-ВЫЯВЛЕНИЕ ПРАВООБЛАДАТЕЛЕЙ РАНЕЕ  УЧТЕННЫХ ОБЪЕКТОВ СИЛАМИ МУНИЦИПАЛИТЕТОВ </vt:lpstr>
      <vt:lpstr>518-ФЗ от 30.12.2020-ВЫЯВЛЕНИЕ ПРАВООБЛАДАТЕЛЕЙ РАНЕЕ  УЧТЕННЫХ ОБЪЕКТОВ СИЛАМИ МУНИЦИПАЛИТЕТОВ </vt:lpstr>
      <vt:lpstr>Презентация PowerPoint</vt:lpstr>
      <vt:lpstr>Презентация PowerPoint</vt:lpstr>
      <vt:lpstr>Презентация PowerPoint</vt:lpstr>
      <vt:lpstr>Показатели </vt:lpstr>
      <vt:lpstr>НАПОЛНЕНИЕ ЕГРН СВЕДЕНИЯМИ В  ЛЕНИНГРАДСКОЙ ОБЛА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</dc:title>
  <dc:creator>АА</dc:creator>
  <cp:lastModifiedBy>Кислицына Наталья Альбертовна</cp:lastModifiedBy>
  <cp:revision>925</cp:revision>
  <cp:lastPrinted>2021-09-02T05:56:02Z</cp:lastPrinted>
  <dcterms:created xsi:type="dcterms:W3CDTF">2021-02-04T10:33:05Z</dcterms:created>
  <dcterms:modified xsi:type="dcterms:W3CDTF">2021-10-12T07:33:43Z</dcterms:modified>
</cp:coreProperties>
</file>